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gif" ContentType="image/gif"/>
  <Default Extension="jpeg" ContentType="image/jpeg"/>
  <Default Extension="mp3" ContentType="audio/mpeg"/>
  <Default Extension="png" ContentType="image/png"/>
  <Default Extension="rels" ContentType="application/vnd.openxmlformats-package.relationships+xml"/>
  <Default Extension="svg" ContentType="image/svg+xml"/>
  <Default Extension="tiff" ContentType="image/tiff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2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slideLayouts/slideLayout25.xml" ContentType="application/vnd.openxmlformats-officedocument.presentationml.slideLayout+xml"/>
  <Override PartName="/ppt/theme/theme3.xml" ContentType="application/vnd.openxmlformats-officedocument.them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heme/theme4.xml" ContentType="application/vnd.openxmlformats-officedocument.them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slideLayouts/slideLayout28.xml" ContentType="application/vnd.openxmlformats-officedocument.presentationml.slideLayout+xml"/>
  <Override PartName="/ppt/theme/theme5.xml" ContentType="application/vnd.openxmlformats-officedocument.them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slideLayouts/slideLayout29.xml" ContentType="application/vnd.openxmlformats-officedocument.presentationml.slideLayout+xml"/>
  <Override PartName="/ppt/theme/theme6.xml" ContentType="application/vnd.openxmlformats-officedocument.theme+xml"/>
  <Override PartName="/ppt/tags/tag14.xml" ContentType="application/vnd.openxmlformats-officedocument.presentationml.tags+xml"/>
  <Override PartName="/ppt/theme/theme7.xml" ContentType="application/vnd.openxmlformats-officedocument.theme+xml"/>
  <Override PartName="/ppt/theme/theme8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>
  <p:sldMasterIdLst>
    <p:sldMasterId id="2147483660" r:id="rId4"/>
    <p:sldMasterId id="2147484120" r:id="rId5"/>
    <p:sldMasterId id="2147484306" r:id="rId6"/>
    <p:sldMasterId id="2147484360" r:id="rId7"/>
    <p:sldMasterId id="2147484370" r:id="rId8"/>
    <p:sldMasterId id="2147484374" r:id="rId9"/>
  </p:sldMasterIdLst>
  <p:notesMasterIdLst>
    <p:notesMasterId r:id="rId36"/>
  </p:notesMasterIdLst>
  <p:handoutMasterIdLst>
    <p:handoutMasterId r:id="rId37"/>
  </p:handoutMasterIdLst>
  <p:sldIdLst>
    <p:sldId id="2499" r:id="rId10"/>
    <p:sldId id="2476" r:id="rId11"/>
    <p:sldId id="2134803562" r:id="rId12"/>
    <p:sldId id="2134803534" r:id="rId13"/>
    <p:sldId id="2134803563" r:id="rId14"/>
    <p:sldId id="2134803561" r:id="rId15"/>
    <p:sldId id="2134803564" r:id="rId16"/>
    <p:sldId id="2134803565" r:id="rId17"/>
    <p:sldId id="2134803566" r:id="rId18"/>
    <p:sldId id="2134803567" r:id="rId19"/>
    <p:sldId id="2134803568" r:id="rId20"/>
    <p:sldId id="2134803569" r:id="rId21"/>
    <p:sldId id="2134803570" r:id="rId22"/>
    <p:sldId id="2134803572" r:id="rId23"/>
    <p:sldId id="2134803571" r:id="rId24"/>
    <p:sldId id="2134803573" r:id="rId25"/>
    <p:sldId id="2134803575" r:id="rId26"/>
    <p:sldId id="2134803574" r:id="rId27"/>
    <p:sldId id="2134803576" r:id="rId28"/>
    <p:sldId id="2134803577" r:id="rId29"/>
    <p:sldId id="2134803578" r:id="rId30"/>
    <p:sldId id="2134803582" r:id="rId31"/>
    <p:sldId id="2134803579" r:id="rId32"/>
    <p:sldId id="2134803580" r:id="rId33"/>
    <p:sldId id="2134803581" r:id="rId34"/>
    <p:sldId id="2134803543" r:id="rId35"/>
  </p:sldIdLst>
  <p:sldSz cx="12195175" cy="6859588"/>
  <p:notesSz cx="7010400" cy="9296400"/>
  <p:embeddedFontLst>
    <p:embeddedFont>
      <p:font typeface="Calibri" panose="020F0502020204030204" pitchFamily="34" charset="0"/>
      <p:regular r:id="rId38"/>
      <p:bold r:id="rId39"/>
      <p:italic r:id="rId40"/>
      <p:boldItalic r:id="rId41"/>
    </p:embeddedFont>
    <p:embeddedFont>
      <p:font typeface="Century Gothic" panose="020B0502020202020204" pitchFamily="34" charset="0"/>
      <p:regular r:id="rId42"/>
      <p:bold r:id="rId43"/>
      <p:italic r:id="rId44"/>
      <p:boldItalic r:id="rId45"/>
    </p:embeddedFont>
    <p:embeddedFont>
      <p:font typeface="Consolas" panose="020B0609020204030204" pitchFamily="49" charset="0"/>
      <p:regular r:id="rId46"/>
      <p:bold r:id="rId47"/>
      <p:italic r:id="rId48"/>
      <p:boldItalic r:id="rId49"/>
    </p:embeddedFont>
  </p:embeddedFontLst>
  <p:custDataLst>
    <p:tags r:id="rId50"/>
  </p:custDataLst>
  <p:defaultTextStyle>
    <a:defPPr>
      <a:defRPr lang="fr-FR"/>
    </a:defPPr>
    <a:lvl1pPr algn="l" defTabSz="1217531" rtl="0" eaLnBrk="0" fontAlgn="base" hangingPunct="0">
      <a:spcBef>
        <a:spcPct val="0"/>
      </a:spcBef>
      <a:spcAft>
        <a:spcPct val="0"/>
      </a:spcAft>
      <a:defRPr sz="2400" kern="1200">
        <a:solidFill>
          <a:schemeClr val="tx1"/>
        </a:solidFill>
        <a:latin typeface="Calibri" pitchFamily="34" charset="0"/>
        <a:ea typeface="+mn-ea"/>
        <a:cs typeface="+mn-cs"/>
      </a:defRPr>
    </a:lvl1pPr>
    <a:lvl2pPr marL="607972" indent="-150803" algn="l" defTabSz="1217531" rtl="0" eaLnBrk="0" fontAlgn="base" hangingPunct="0">
      <a:spcBef>
        <a:spcPct val="0"/>
      </a:spcBef>
      <a:spcAft>
        <a:spcPct val="0"/>
      </a:spcAft>
      <a:defRPr sz="2400" kern="1200">
        <a:solidFill>
          <a:schemeClr val="tx1"/>
        </a:solidFill>
        <a:latin typeface="Calibri" pitchFamily="34" charset="0"/>
        <a:ea typeface="+mn-ea"/>
        <a:cs typeface="+mn-cs"/>
      </a:defRPr>
    </a:lvl2pPr>
    <a:lvl3pPr marL="1217531" indent="-303193" algn="l" defTabSz="1217531" rtl="0" eaLnBrk="0" fontAlgn="base" hangingPunct="0">
      <a:spcBef>
        <a:spcPct val="0"/>
      </a:spcBef>
      <a:spcAft>
        <a:spcPct val="0"/>
      </a:spcAft>
      <a:defRPr sz="2400" kern="1200">
        <a:solidFill>
          <a:schemeClr val="tx1"/>
        </a:solidFill>
        <a:latin typeface="Calibri" pitchFamily="34" charset="0"/>
        <a:ea typeface="+mn-ea"/>
        <a:cs typeface="+mn-cs"/>
      </a:defRPr>
    </a:lvl3pPr>
    <a:lvl4pPr marL="1827091" indent="-455583" algn="l" defTabSz="1217531" rtl="0" eaLnBrk="0" fontAlgn="base" hangingPunct="0">
      <a:spcBef>
        <a:spcPct val="0"/>
      </a:spcBef>
      <a:spcAft>
        <a:spcPct val="0"/>
      </a:spcAft>
      <a:defRPr sz="2400" kern="1200">
        <a:solidFill>
          <a:schemeClr val="tx1"/>
        </a:solidFill>
        <a:latin typeface="Calibri" pitchFamily="34" charset="0"/>
        <a:ea typeface="+mn-ea"/>
        <a:cs typeface="+mn-cs"/>
      </a:defRPr>
    </a:lvl4pPr>
    <a:lvl5pPr marL="2436650" indent="-607972" algn="l" defTabSz="1217531" rtl="0" eaLnBrk="0" fontAlgn="base" hangingPunct="0">
      <a:spcBef>
        <a:spcPct val="0"/>
      </a:spcBef>
      <a:spcAft>
        <a:spcPct val="0"/>
      </a:spcAft>
      <a:defRPr sz="2400" kern="1200">
        <a:solidFill>
          <a:schemeClr val="tx1"/>
        </a:solidFill>
        <a:latin typeface="Calibri" pitchFamily="34" charset="0"/>
        <a:ea typeface="+mn-ea"/>
        <a:cs typeface="+mn-cs"/>
      </a:defRPr>
    </a:lvl5pPr>
    <a:lvl6pPr marL="2285848" algn="l" defTabSz="914339" rtl="0" eaLnBrk="1" latinLnBrk="0" hangingPunct="1">
      <a:defRPr sz="2400" kern="1200">
        <a:solidFill>
          <a:schemeClr val="tx1"/>
        </a:solidFill>
        <a:latin typeface="Calibri" pitchFamily="34" charset="0"/>
        <a:ea typeface="+mn-ea"/>
        <a:cs typeface="+mn-cs"/>
      </a:defRPr>
    </a:lvl6pPr>
    <a:lvl7pPr marL="2743016" algn="l" defTabSz="914339" rtl="0" eaLnBrk="1" latinLnBrk="0" hangingPunct="1">
      <a:defRPr sz="2400" kern="1200">
        <a:solidFill>
          <a:schemeClr val="tx1"/>
        </a:solidFill>
        <a:latin typeface="Calibri" pitchFamily="34" charset="0"/>
        <a:ea typeface="+mn-ea"/>
        <a:cs typeface="+mn-cs"/>
      </a:defRPr>
    </a:lvl7pPr>
    <a:lvl8pPr marL="3200187" algn="l" defTabSz="914339" rtl="0" eaLnBrk="1" latinLnBrk="0" hangingPunct="1">
      <a:defRPr sz="2400" kern="1200">
        <a:solidFill>
          <a:schemeClr val="tx1"/>
        </a:solidFill>
        <a:latin typeface="Calibri" pitchFamily="34" charset="0"/>
        <a:ea typeface="+mn-ea"/>
        <a:cs typeface="+mn-cs"/>
      </a:defRPr>
    </a:lvl8pPr>
    <a:lvl9pPr marL="3657355" algn="l" defTabSz="914339" rtl="0" eaLnBrk="1" latinLnBrk="0" hangingPunct="1">
      <a:defRPr sz="2400" kern="1200">
        <a:solidFill>
          <a:schemeClr val="tx1"/>
        </a:solidFill>
        <a:latin typeface="Calibri" pitchFamily="34" charset="0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44404297-89DE-4E55-A768-1A9887980240}">
          <p14:sldIdLst>
            <p14:sldId id="2499"/>
            <p14:sldId id="2476"/>
          </p14:sldIdLst>
        </p14:section>
        <p14:section name="Introduction" id="{BE275B2F-3BE5-429B-B1E4-DCF2F3B5A132}">
          <p14:sldIdLst>
            <p14:sldId id="2134803562"/>
            <p14:sldId id="2134803534"/>
            <p14:sldId id="2134803563"/>
          </p14:sldIdLst>
        </p14:section>
        <p14:section name="Infrastructure as Code" id="{A30E9FC8-DB47-4492-817D-72BAD48D4D0F}">
          <p14:sldIdLst>
            <p14:sldId id="2134803561"/>
            <p14:sldId id="2134803564"/>
            <p14:sldId id="2134803565"/>
            <p14:sldId id="2134803566"/>
          </p14:sldIdLst>
        </p14:section>
        <p14:section name="Terraform" id="{4503C5FF-7959-4A27-BB8E-C966016B6177}">
          <p14:sldIdLst>
            <p14:sldId id="2134803567"/>
            <p14:sldId id="2134803568"/>
            <p14:sldId id="2134803569"/>
            <p14:sldId id="2134803570"/>
            <p14:sldId id="2134803572"/>
            <p14:sldId id="2134803571"/>
            <p14:sldId id="2134803573"/>
            <p14:sldId id="2134803575"/>
            <p14:sldId id="2134803574"/>
            <p14:sldId id="2134803576"/>
            <p14:sldId id="2134803577"/>
            <p14:sldId id="2134803578"/>
          </p14:sldIdLst>
        </p14:section>
        <p14:section name="Aller plus loin" id="{2B4DC992-6A04-4ACA-970F-5DF8876BB8FF}">
          <p14:sldIdLst>
            <p14:sldId id="2134803582"/>
            <p14:sldId id="2134803579"/>
            <p14:sldId id="2134803580"/>
            <p14:sldId id="2134803581"/>
            <p14:sldId id="2134803543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4066" userDrawn="1">
          <p15:clr>
            <a:srgbClr val="A4A3A4"/>
          </p15:clr>
        </p15:guide>
        <p15:guide id="3" orient="horz" pos="573" userDrawn="1">
          <p15:clr>
            <a:srgbClr val="A4A3A4"/>
          </p15:clr>
        </p15:guide>
        <p15:guide id="4" userDrawn="1">
          <p15:clr>
            <a:srgbClr val="A4A3A4"/>
          </p15:clr>
        </p15:guide>
        <p15:guide id="5" orient="horz" pos="1888">
          <p15:clr>
            <a:srgbClr val="A4A3A4"/>
          </p15:clr>
        </p15:guide>
        <p15:guide id="6" pos="303" userDrawn="1">
          <p15:clr>
            <a:srgbClr val="A4A3A4"/>
          </p15:clr>
        </p15:guide>
        <p15:guide id="7" orient="horz" pos="2115" userDrawn="1">
          <p15:clr>
            <a:srgbClr val="A4A3A4"/>
          </p15:clr>
        </p15:guide>
        <p15:guide id="8" orient="horz" pos="1580" userDrawn="1">
          <p15:clr>
            <a:srgbClr val="A4A3A4"/>
          </p15:clr>
        </p15:guide>
        <p15:guide id="9" pos="6533" userDrawn="1">
          <p15:clr>
            <a:srgbClr val="A4A3A4"/>
          </p15:clr>
        </p15:guide>
        <p15:guide id="10" pos="688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arie-Geneviève Parent" initials="MP" lastIdx="7" clrIdx="0">
    <p:extLst>
      <p:ext uri="{19B8F6BF-5375-455C-9EA6-DF929625EA0E}">
        <p15:presenceInfo xmlns:p15="http://schemas.microsoft.com/office/powerpoint/2012/main" userId="S::Marie-Genevieve.Parent@hiloenergie.com::5a8e95ea-f632-4bb1-a802-61699a0b5233" providerId="AD"/>
      </p:ext>
    </p:extLst>
  </p:cmAuthor>
  <p:cmAuthor id="2" name="Sébastien" initials="S" lastIdx="14" clrIdx="1">
    <p:extLst>
      <p:ext uri="{19B8F6BF-5375-455C-9EA6-DF929625EA0E}">
        <p15:presenceInfo xmlns:p15="http://schemas.microsoft.com/office/powerpoint/2012/main" userId="S::sebastien.fournier@hiloenergie.com::3874b582-c4aa-4bc8-a6f8-68bc7c8b656b" providerId="AD"/>
      </p:ext>
    </p:extLst>
  </p:cmAuthor>
  <p:cmAuthor id="3" name="Anik Roy Trudel" initials="ART" lastIdx="2" clrIdx="2">
    <p:extLst>
      <p:ext uri="{19B8F6BF-5375-455C-9EA6-DF929625EA0E}">
        <p15:presenceInfo xmlns:p15="http://schemas.microsoft.com/office/powerpoint/2012/main" userId="S::anik.roytrudel@hiloenergie.com::f84eb3bf-af82-477b-9a09-2e2efd0bbb4d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7072B"/>
    <a:srgbClr val="9B9B9B"/>
    <a:srgbClr val="FF9A00"/>
    <a:srgbClr val="B3C3D8"/>
    <a:srgbClr val="7A96BB"/>
    <a:srgbClr val="003366"/>
    <a:srgbClr val="222644"/>
    <a:srgbClr val="F6F7FB"/>
    <a:srgbClr val="D1A69C"/>
    <a:srgbClr val="B1BFD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D9B816CB-AB92-4761-937A-BD8E286FDC40}" v="21" dt="2021-03-31T14:57:38.887"/>
  </p1510:revLst>
</p1510:revInfo>
</file>

<file path=ppt/tableStyles.xml><?xml version="1.0" encoding="utf-8"?>
<a:tblStyleLst xmlns:a="http://schemas.openxmlformats.org/drawingml/2006/main" def="{5C22544A-7EE6-4342-B048-85BDC9FD1C3A}">
  <a:tblStyle styleId="{69012ECD-51FC-41F1-AA8D-1B2483CD663E}" styleName="Style léger 2 - Accentuation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B301B821-A1FF-4177-AEE7-76D212191A09}" styleName="Style moyen 1 - Accentuation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E25E649-3F16-4E02-A733-19D2CDBF48F0}" styleName="Style moyen 3 - Accentuation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Style moyen 2 - Accentuation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0E3FDE45-AF77-4B5C-9715-49D594BDF05E}" styleName="Style léger 1 - Accentuation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3B4B98B0-60AC-42C2-AFA5-B58CD77FA1E5}" styleName="Style léger 1 - Accentuation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68D230F3-CF80-4859-8CE7-A43EE81993B5}" styleName="Style léger 1 - Accentuation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2D5ABB26-0587-4C30-8999-92F81FD0307C}" styleName="Aucun style, aucune grille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6993" autoAdjust="0"/>
    <p:restoredTop sz="73440" autoAdjust="0"/>
  </p:normalViewPr>
  <p:slideViewPr>
    <p:cSldViewPr showGuides="1">
      <p:cViewPr varScale="1">
        <p:scale>
          <a:sx n="119" d="100"/>
          <a:sy n="119" d="100"/>
        </p:scale>
        <p:origin x="1668" y="108"/>
      </p:cViewPr>
      <p:guideLst>
        <p:guide orient="horz" pos="4066"/>
        <p:guide orient="horz" pos="573"/>
        <p:guide/>
        <p:guide orient="horz" pos="1888"/>
        <p:guide pos="303"/>
        <p:guide orient="horz" pos="2115"/>
        <p:guide orient="horz" pos="1580"/>
        <p:guide pos="6533"/>
        <p:guide pos="6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76" d="100"/>
        <a:sy n="176" d="100"/>
      </p:scale>
      <p:origin x="0" y="0"/>
    </p:cViewPr>
  </p:notesTextViewPr>
  <p:sorterViewPr>
    <p:cViewPr>
      <p:scale>
        <a:sx n="68" d="100"/>
        <a:sy n="68" d="100"/>
      </p:scale>
      <p:origin x="0" y="0"/>
    </p:cViewPr>
  </p:sorterViewPr>
  <p:notesViewPr>
    <p:cSldViewPr>
      <p:cViewPr varScale="1">
        <p:scale>
          <a:sx n="126" d="100"/>
          <a:sy n="126" d="100"/>
        </p:scale>
        <p:origin x="5112" y="20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4.xml"/><Relationship Id="rId18" Type="http://schemas.openxmlformats.org/officeDocument/2006/relationships/slide" Target="slides/slide9.xml"/><Relationship Id="rId26" Type="http://schemas.openxmlformats.org/officeDocument/2006/relationships/slide" Target="slides/slide17.xml"/><Relationship Id="rId39" Type="http://schemas.openxmlformats.org/officeDocument/2006/relationships/font" Target="fonts/font2.fntdata"/><Relationship Id="rId21" Type="http://schemas.openxmlformats.org/officeDocument/2006/relationships/slide" Target="slides/slide12.xml"/><Relationship Id="rId34" Type="http://schemas.openxmlformats.org/officeDocument/2006/relationships/slide" Target="slides/slide25.xml"/><Relationship Id="rId42" Type="http://schemas.openxmlformats.org/officeDocument/2006/relationships/font" Target="fonts/font5.fntdata"/><Relationship Id="rId47" Type="http://schemas.openxmlformats.org/officeDocument/2006/relationships/font" Target="fonts/font10.fntdata"/><Relationship Id="rId50" Type="http://schemas.openxmlformats.org/officeDocument/2006/relationships/tags" Target="tags/tag1.xml"/><Relationship Id="rId55" Type="http://schemas.openxmlformats.org/officeDocument/2006/relationships/tableStyles" Target="tableStyles.xml"/><Relationship Id="rId7" Type="http://schemas.openxmlformats.org/officeDocument/2006/relationships/slideMaster" Target="slideMasters/slideMaster4.xml"/><Relationship Id="rId2" Type="http://schemas.openxmlformats.org/officeDocument/2006/relationships/customXml" Target="../customXml/item2.xml"/><Relationship Id="rId16" Type="http://schemas.openxmlformats.org/officeDocument/2006/relationships/slide" Target="slides/slide7.xml"/><Relationship Id="rId29" Type="http://schemas.openxmlformats.org/officeDocument/2006/relationships/slide" Target="slides/slide20.xml"/><Relationship Id="rId11" Type="http://schemas.openxmlformats.org/officeDocument/2006/relationships/slide" Target="slides/slide2.xml"/><Relationship Id="rId24" Type="http://schemas.openxmlformats.org/officeDocument/2006/relationships/slide" Target="slides/slide15.xml"/><Relationship Id="rId32" Type="http://schemas.openxmlformats.org/officeDocument/2006/relationships/slide" Target="slides/slide23.xml"/><Relationship Id="rId37" Type="http://schemas.openxmlformats.org/officeDocument/2006/relationships/handoutMaster" Target="handoutMasters/handoutMaster1.xml"/><Relationship Id="rId40" Type="http://schemas.openxmlformats.org/officeDocument/2006/relationships/font" Target="fonts/font3.fntdata"/><Relationship Id="rId45" Type="http://schemas.openxmlformats.org/officeDocument/2006/relationships/font" Target="fonts/font8.fntdata"/><Relationship Id="rId53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9" Type="http://schemas.openxmlformats.org/officeDocument/2006/relationships/slide" Target="slides/slide10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" Target="slides/slide5.xml"/><Relationship Id="rId22" Type="http://schemas.openxmlformats.org/officeDocument/2006/relationships/slide" Target="slides/slide13.xml"/><Relationship Id="rId27" Type="http://schemas.openxmlformats.org/officeDocument/2006/relationships/slide" Target="slides/slide18.xml"/><Relationship Id="rId30" Type="http://schemas.openxmlformats.org/officeDocument/2006/relationships/slide" Target="slides/slide21.xml"/><Relationship Id="rId35" Type="http://schemas.openxmlformats.org/officeDocument/2006/relationships/slide" Target="slides/slide26.xml"/><Relationship Id="rId43" Type="http://schemas.openxmlformats.org/officeDocument/2006/relationships/font" Target="fonts/font6.fntdata"/><Relationship Id="rId48" Type="http://schemas.openxmlformats.org/officeDocument/2006/relationships/font" Target="fonts/font11.fntdata"/><Relationship Id="rId56" Type="http://schemas.microsoft.com/office/2016/11/relationships/changesInfo" Target="changesInfos/changesInfo1.xml"/><Relationship Id="rId8" Type="http://schemas.openxmlformats.org/officeDocument/2006/relationships/slideMaster" Target="slideMasters/slideMaster5.xml"/><Relationship Id="rId51" Type="http://schemas.openxmlformats.org/officeDocument/2006/relationships/commentAuthors" Target="commentAuthors.xml"/><Relationship Id="rId3" Type="http://schemas.openxmlformats.org/officeDocument/2006/relationships/customXml" Target="../customXml/item3.xml"/><Relationship Id="rId12" Type="http://schemas.openxmlformats.org/officeDocument/2006/relationships/slide" Target="slides/slide3.xml"/><Relationship Id="rId17" Type="http://schemas.openxmlformats.org/officeDocument/2006/relationships/slide" Target="slides/slide8.xml"/><Relationship Id="rId25" Type="http://schemas.openxmlformats.org/officeDocument/2006/relationships/slide" Target="slides/slide16.xml"/><Relationship Id="rId33" Type="http://schemas.openxmlformats.org/officeDocument/2006/relationships/slide" Target="slides/slide24.xml"/><Relationship Id="rId38" Type="http://schemas.openxmlformats.org/officeDocument/2006/relationships/font" Target="fonts/font1.fntdata"/><Relationship Id="rId46" Type="http://schemas.openxmlformats.org/officeDocument/2006/relationships/font" Target="fonts/font9.fntdata"/><Relationship Id="rId20" Type="http://schemas.openxmlformats.org/officeDocument/2006/relationships/slide" Target="slides/slide11.xml"/><Relationship Id="rId41" Type="http://schemas.openxmlformats.org/officeDocument/2006/relationships/font" Target="fonts/font4.fntdata"/><Relationship Id="rId54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5" Type="http://schemas.openxmlformats.org/officeDocument/2006/relationships/slide" Target="slides/slide6.xml"/><Relationship Id="rId23" Type="http://schemas.openxmlformats.org/officeDocument/2006/relationships/slide" Target="slides/slide14.xml"/><Relationship Id="rId28" Type="http://schemas.openxmlformats.org/officeDocument/2006/relationships/slide" Target="slides/slide19.xml"/><Relationship Id="rId36" Type="http://schemas.openxmlformats.org/officeDocument/2006/relationships/notesMaster" Target="notesMasters/notesMaster1.xml"/><Relationship Id="rId49" Type="http://schemas.openxmlformats.org/officeDocument/2006/relationships/font" Target="fonts/font12.fntdata"/><Relationship Id="rId57" Type="http://schemas.microsoft.com/office/2015/10/relationships/revisionInfo" Target="revisionInfo.xml"/><Relationship Id="rId10" Type="http://schemas.openxmlformats.org/officeDocument/2006/relationships/slide" Target="slides/slide1.xml"/><Relationship Id="rId31" Type="http://schemas.openxmlformats.org/officeDocument/2006/relationships/slide" Target="slides/slide22.xml"/><Relationship Id="rId44" Type="http://schemas.openxmlformats.org/officeDocument/2006/relationships/font" Target="fonts/font7.fntdata"/><Relationship Id="rId52" Type="http://schemas.openxmlformats.org/officeDocument/2006/relationships/presProps" Target="pres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Pierre Cavaroc" userId="150eff99-6aed-48f0-b13c-cabd0a4b3ac2" providerId="ADAL" clId="{E623609C-0EF4-4ECB-A655-127E285B354B}"/>
    <pc:docChg chg="undo redo custSel addSld delSld modSld sldOrd modMainMaster addSection modSection">
      <pc:chgData name="Pierre Cavaroc" userId="150eff99-6aed-48f0-b13c-cabd0a4b3ac2" providerId="ADAL" clId="{E623609C-0EF4-4ECB-A655-127E285B354B}" dt="2021-03-21T23:45:01.564" v="6582" actId="20577"/>
      <pc:docMkLst>
        <pc:docMk/>
      </pc:docMkLst>
      <pc:sldChg chg="addSp delSp modSp mod modTransition setBg">
        <pc:chgData name="Pierre Cavaroc" userId="150eff99-6aed-48f0-b13c-cabd0a4b3ac2" providerId="ADAL" clId="{E623609C-0EF4-4ECB-A655-127E285B354B}" dt="2021-03-21T16:50:14.224" v="3245"/>
        <pc:sldMkLst>
          <pc:docMk/>
          <pc:sldMk cId="1598516204" sldId="2476"/>
        </pc:sldMkLst>
        <pc:spChg chg="mod">
          <ac:chgData name="Pierre Cavaroc" userId="150eff99-6aed-48f0-b13c-cabd0a4b3ac2" providerId="ADAL" clId="{E623609C-0EF4-4ECB-A655-127E285B354B}" dt="2021-03-10T02:14:58.747" v="75" actId="1076"/>
          <ac:spMkLst>
            <pc:docMk/>
            <pc:sldMk cId="1598516204" sldId="2476"/>
            <ac:spMk id="2" creationId="{7272AD88-8560-4BCE-A8BB-4F42EE994B2E}"/>
          </ac:spMkLst>
        </pc:spChg>
        <pc:spChg chg="mod">
          <ac:chgData name="Pierre Cavaroc" userId="150eff99-6aed-48f0-b13c-cabd0a4b3ac2" providerId="ADAL" clId="{E623609C-0EF4-4ECB-A655-127E285B354B}" dt="2021-03-10T02:17:56.166" v="84" actId="1076"/>
          <ac:spMkLst>
            <pc:docMk/>
            <pc:sldMk cId="1598516204" sldId="2476"/>
            <ac:spMk id="8" creationId="{9A958985-27A5-4DB8-A4E1-74238E368663}"/>
          </ac:spMkLst>
        </pc:spChg>
        <pc:spChg chg="add mod">
          <ac:chgData name="Pierre Cavaroc" userId="150eff99-6aed-48f0-b13c-cabd0a4b3ac2" providerId="ADAL" clId="{E623609C-0EF4-4ECB-A655-127E285B354B}" dt="2021-03-10T02:19:40.001" v="94" actId="1076"/>
          <ac:spMkLst>
            <pc:docMk/>
            <pc:sldMk cId="1598516204" sldId="2476"/>
            <ac:spMk id="9" creationId="{29C67E76-7393-453D-90C2-B0A2E852DC15}"/>
          </ac:spMkLst>
        </pc:spChg>
        <pc:picChg chg="del">
          <ac:chgData name="Pierre Cavaroc" userId="150eff99-6aed-48f0-b13c-cabd0a4b3ac2" providerId="ADAL" clId="{E623609C-0EF4-4ECB-A655-127E285B354B}" dt="2021-03-20T21:47:35.206" v="1307" actId="478"/>
          <ac:picMkLst>
            <pc:docMk/>
            <pc:sldMk cId="1598516204" sldId="2476"/>
            <ac:picMk id="7" creationId="{CAA4763A-EC0C-4DEB-985F-15CC665969A0}"/>
          </ac:picMkLst>
        </pc:picChg>
      </pc:sldChg>
      <pc:sldChg chg="modSp mod modTransition modNotesTx">
        <pc:chgData name="Pierre Cavaroc" userId="150eff99-6aed-48f0-b13c-cabd0a4b3ac2" providerId="ADAL" clId="{E623609C-0EF4-4ECB-A655-127E285B354B}" dt="2021-03-21T16:50:20.539" v="3257" actId="20577"/>
        <pc:sldMkLst>
          <pc:docMk/>
          <pc:sldMk cId="994117488" sldId="2499"/>
        </pc:sldMkLst>
        <pc:picChg chg="mod">
          <ac:chgData name="Pierre Cavaroc" userId="150eff99-6aed-48f0-b13c-cabd0a4b3ac2" providerId="ADAL" clId="{E623609C-0EF4-4ECB-A655-127E285B354B}" dt="2021-03-21T14:45:44.727" v="2218" actId="3626"/>
          <ac:picMkLst>
            <pc:docMk/>
            <pc:sldMk cId="994117488" sldId="2499"/>
            <ac:picMk id="517" creationId="{00000000-0000-0000-0000-000000000000}"/>
          </ac:picMkLst>
        </pc:picChg>
      </pc:sldChg>
      <pc:sldChg chg="addSp delSp modSp mod modTransition modClrScheme chgLayout">
        <pc:chgData name="Pierre Cavaroc" userId="150eff99-6aed-48f0-b13c-cabd0a4b3ac2" providerId="ADAL" clId="{E623609C-0EF4-4ECB-A655-127E285B354B}" dt="2021-03-21T16:50:14.224" v="3245"/>
        <pc:sldMkLst>
          <pc:docMk/>
          <pc:sldMk cId="66305900" sldId="2134803534"/>
        </pc:sldMkLst>
        <pc:spChg chg="mod ord">
          <ac:chgData name="Pierre Cavaroc" userId="150eff99-6aed-48f0-b13c-cabd0a4b3ac2" providerId="ADAL" clId="{E623609C-0EF4-4ECB-A655-127E285B354B}" dt="2021-03-20T21:47:17.535" v="1306" actId="1076"/>
          <ac:spMkLst>
            <pc:docMk/>
            <pc:sldMk cId="66305900" sldId="2134803534"/>
            <ac:spMk id="3" creationId="{00000000-0000-0000-0000-000000000000}"/>
          </ac:spMkLst>
        </pc:spChg>
        <pc:spChg chg="add del mod ord">
          <ac:chgData name="Pierre Cavaroc" userId="150eff99-6aed-48f0-b13c-cabd0a4b3ac2" providerId="ADAL" clId="{E623609C-0EF4-4ECB-A655-127E285B354B}" dt="2021-03-20T20:58:42.381" v="894" actId="700"/>
          <ac:spMkLst>
            <pc:docMk/>
            <pc:sldMk cId="66305900" sldId="2134803534"/>
            <ac:spMk id="4" creationId="{71056859-B482-4DD5-9D70-EF402FFFEACF}"/>
          </ac:spMkLst>
        </pc:spChg>
        <pc:spChg chg="del">
          <ac:chgData name="Pierre Cavaroc" userId="150eff99-6aed-48f0-b13c-cabd0a4b3ac2" providerId="ADAL" clId="{E623609C-0EF4-4ECB-A655-127E285B354B}" dt="2021-03-20T15:09:54.874" v="571" actId="478"/>
          <ac:spMkLst>
            <pc:docMk/>
            <pc:sldMk cId="66305900" sldId="2134803534"/>
            <ac:spMk id="27" creationId="{23BC13EC-0FA4-4E05-B653-5BA418936C8D}"/>
          </ac:spMkLst>
        </pc:spChg>
        <pc:graphicFrameChg chg="add del modGraphic">
          <ac:chgData name="Pierre Cavaroc" userId="150eff99-6aed-48f0-b13c-cabd0a4b3ac2" providerId="ADAL" clId="{E623609C-0EF4-4ECB-A655-127E285B354B}" dt="2021-03-20T14:45:40.606" v="332" actId="27310"/>
          <ac:graphicFrameMkLst>
            <pc:docMk/>
            <pc:sldMk cId="66305900" sldId="2134803534"/>
            <ac:graphicFrameMk id="6" creationId="{DC7D6A59-B2F4-4AB2-B337-460AD70D8F2B}"/>
          </ac:graphicFrameMkLst>
        </pc:graphicFrameChg>
        <pc:picChg chg="mod">
          <ac:chgData name="Pierre Cavaroc" userId="150eff99-6aed-48f0-b13c-cabd0a4b3ac2" providerId="ADAL" clId="{E623609C-0EF4-4ECB-A655-127E285B354B}" dt="2021-03-10T02:53:33.687" v="125" actId="1076"/>
          <ac:picMkLst>
            <pc:docMk/>
            <pc:sldMk cId="66305900" sldId="2134803534"/>
            <ac:picMk id="2" creationId="{9A47404A-43E8-44FF-818B-853A76E65F10}"/>
          </ac:picMkLst>
        </pc:picChg>
        <pc:picChg chg="add del">
          <ac:chgData name="Pierre Cavaroc" userId="150eff99-6aed-48f0-b13c-cabd0a4b3ac2" providerId="ADAL" clId="{E623609C-0EF4-4ECB-A655-127E285B354B}" dt="2021-03-20T14:44:55.233" v="328" actId="478"/>
          <ac:picMkLst>
            <pc:docMk/>
            <pc:sldMk cId="66305900" sldId="2134803534"/>
            <ac:picMk id="4" creationId="{83817654-C0E5-4B07-BCB5-86867AA92F4E}"/>
          </ac:picMkLst>
        </pc:picChg>
        <pc:picChg chg="mod ord modCrop">
          <ac:chgData name="Pierre Cavaroc" userId="150eff99-6aed-48f0-b13c-cabd0a4b3ac2" providerId="ADAL" clId="{E623609C-0EF4-4ECB-A655-127E285B354B}" dt="2021-03-20T20:58:42.381" v="894" actId="700"/>
          <ac:picMkLst>
            <pc:docMk/>
            <pc:sldMk cId="66305900" sldId="2134803534"/>
            <ac:picMk id="17" creationId="{00000000-0000-0000-0000-000000000000}"/>
          </ac:picMkLst>
        </pc:picChg>
      </pc:sldChg>
      <pc:sldChg chg="del">
        <pc:chgData name="Pierre Cavaroc" userId="150eff99-6aed-48f0-b13c-cabd0a4b3ac2" providerId="ADAL" clId="{E623609C-0EF4-4ECB-A655-127E285B354B}" dt="2021-03-20T14:43:35.209" v="326" actId="47"/>
        <pc:sldMkLst>
          <pc:docMk/>
          <pc:sldMk cId="1737106752" sldId="2134803538"/>
        </pc:sldMkLst>
      </pc:sldChg>
      <pc:sldChg chg="addSp modSp mod modTransition modClrScheme chgLayout">
        <pc:chgData name="Pierre Cavaroc" userId="150eff99-6aed-48f0-b13c-cabd0a4b3ac2" providerId="ADAL" clId="{E623609C-0EF4-4ECB-A655-127E285B354B}" dt="2021-03-21T23:18:23.990" v="6117" actId="2711"/>
        <pc:sldMkLst>
          <pc:docMk/>
          <pc:sldMk cId="488835852" sldId="2134803543"/>
        </pc:sldMkLst>
        <pc:spChg chg="mod">
          <ac:chgData name="Pierre Cavaroc" userId="150eff99-6aed-48f0-b13c-cabd0a4b3ac2" providerId="ADAL" clId="{E623609C-0EF4-4ECB-A655-127E285B354B}" dt="2021-03-21T23:16:52.461" v="6104"/>
          <ac:spMkLst>
            <pc:docMk/>
            <pc:sldMk cId="488835852" sldId="2134803543"/>
            <ac:spMk id="5" creationId="{DCAF48E2-E0B8-4D8E-A6F9-0E13F3AF83C5}"/>
          </ac:spMkLst>
        </pc:spChg>
        <pc:spChg chg="add mod">
          <ac:chgData name="Pierre Cavaroc" userId="150eff99-6aed-48f0-b13c-cabd0a4b3ac2" providerId="ADAL" clId="{E623609C-0EF4-4ECB-A655-127E285B354B}" dt="2021-03-21T23:18:23.990" v="6117" actId="2711"/>
          <ac:spMkLst>
            <pc:docMk/>
            <pc:sldMk cId="488835852" sldId="2134803543"/>
            <ac:spMk id="6" creationId="{D2A7A2D5-8AFE-474C-9B4A-0FCF848AECD7}"/>
          </ac:spMkLst>
        </pc:spChg>
        <pc:spChg chg="mod">
          <ac:chgData name="Pierre Cavaroc" userId="150eff99-6aed-48f0-b13c-cabd0a4b3ac2" providerId="ADAL" clId="{E623609C-0EF4-4ECB-A655-127E285B354B}" dt="2021-03-21T23:17:23.629" v="6109" actId="207"/>
          <ac:spMkLst>
            <pc:docMk/>
            <pc:sldMk cId="488835852" sldId="2134803543"/>
            <ac:spMk id="8" creationId="{F6419AF3-D4D0-4A6A-B2E6-945AA3ABF811}"/>
          </ac:spMkLst>
        </pc:spChg>
        <pc:spChg chg="mod ord">
          <ac:chgData name="Pierre Cavaroc" userId="150eff99-6aed-48f0-b13c-cabd0a4b3ac2" providerId="ADAL" clId="{E623609C-0EF4-4ECB-A655-127E285B354B}" dt="2021-03-21T23:18:15.186" v="6116" actId="14100"/>
          <ac:spMkLst>
            <pc:docMk/>
            <pc:sldMk cId="488835852" sldId="2134803543"/>
            <ac:spMk id="12" creationId="{35546CE4-7080-4648-828C-114A8D4232A7}"/>
          </ac:spMkLst>
        </pc:spChg>
        <pc:grpChg chg="add mod">
          <ac:chgData name="Pierre Cavaroc" userId="150eff99-6aed-48f0-b13c-cabd0a4b3ac2" providerId="ADAL" clId="{E623609C-0EF4-4ECB-A655-127E285B354B}" dt="2021-03-21T23:17:47.153" v="6111" actId="1076"/>
          <ac:grpSpMkLst>
            <pc:docMk/>
            <pc:sldMk cId="488835852" sldId="2134803543"/>
            <ac:grpSpMk id="2" creationId="{D6DF0F0B-1F06-407F-8B1A-06446442B6F1}"/>
          </ac:grpSpMkLst>
        </pc:grpChg>
        <pc:grpChg chg="add mod">
          <ac:chgData name="Pierre Cavaroc" userId="150eff99-6aed-48f0-b13c-cabd0a4b3ac2" providerId="ADAL" clId="{E623609C-0EF4-4ECB-A655-127E285B354B}" dt="2021-03-21T23:17:36.966" v="6110" actId="164"/>
          <ac:grpSpMkLst>
            <pc:docMk/>
            <pc:sldMk cId="488835852" sldId="2134803543"/>
            <ac:grpSpMk id="3" creationId="{4105F3D2-D4F3-4A35-ACCA-6670E55C81FF}"/>
          </ac:grpSpMkLst>
        </pc:grpChg>
        <pc:grpChg chg="add mod">
          <ac:chgData name="Pierre Cavaroc" userId="150eff99-6aed-48f0-b13c-cabd0a4b3ac2" providerId="ADAL" clId="{E623609C-0EF4-4ECB-A655-127E285B354B}" dt="2021-03-21T23:17:36.966" v="6110" actId="164"/>
          <ac:grpSpMkLst>
            <pc:docMk/>
            <pc:sldMk cId="488835852" sldId="2134803543"/>
            <ac:grpSpMk id="7" creationId="{AB0271DF-F064-40A7-8223-FF60CFB774BE}"/>
          </ac:grpSpMkLst>
        </pc:grpChg>
        <pc:picChg chg="mod">
          <ac:chgData name="Pierre Cavaroc" userId="150eff99-6aed-48f0-b13c-cabd0a4b3ac2" providerId="ADAL" clId="{E623609C-0EF4-4ECB-A655-127E285B354B}" dt="2021-03-21T23:16:52.461" v="6104"/>
          <ac:picMkLst>
            <pc:docMk/>
            <pc:sldMk cId="488835852" sldId="2134803543"/>
            <ac:picMk id="4" creationId="{677C5718-911A-4F96-9F26-B2CC4D9329CE}"/>
          </ac:picMkLst>
        </pc:picChg>
        <pc:picChg chg="mod">
          <ac:chgData name="Pierre Cavaroc" userId="150eff99-6aed-48f0-b13c-cabd0a4b3ac2" providerId="ADAL" clId="{E623609C-0EF4-4ECB-A655-127E285B354B}" dt="2021-03-21T23:17:15.039" v="6108" actId="1076"/>
          <ac:picMkLst>
            <pc:docMk/>
            <pc:sldMk cId="488835852" sldId="2134803543"/>
            <ac:picMk id="9" creationId="{AB9425D7-5885-4D80-B0E2-7D6EDF7ADE41}"/>
          </ac:picMkLst>
        </pc:picChg>
        <pc:picChg chg="mod">
          <ac:chgData name="Pierre Cavaroc" userId="150eff99-6aed-48f0-b13c-cabd0a4b3ac2" providerId="ADAL" clId="{E623609C-0EF4-4ECB-A655-127E285B354B}" dt="2021-03-21T23:16:52.461" v="6104"/>
          <ac:picMkLst>
            <pc:docMk/>
            <pc:sldMk cId="488835852" sldId="2134803543"/>
            <ac:picMk id="10" creationId="{43EC2485-57C2-4B31-AFEC-AE0806B1E85E}"/>
          </ac:picMkLst>
        </pc:picChg>
      </pc:sldChg>
      <pc:sldChg chg="del modTransition">
        <pc:chgData name="Pierre Cavaroc" userId="150eff99-6aed-48f0-b13c-cabd0a4b3ac2" providerId="ADAL" clId="{E623609C-0EF4-4ECB-A655-127E285B354B}" dt="2021-03-21T23:09:54.899" v="6074" actId="47"/>
        <pc:sldMkLst>
          <pc:docMk/>
          <pc:sldMk cId="3230204366" sldId="2134803544"/>
        </pc:sldMkLst>
      </pc:sldChg>
      <pc:sldChg chg="add del">
        <pc:chgData name="Pierre Cavaroc" userId="150eff99-6aed-48f0-b13c-cabd0a4b3ac2" providerId="ADAL" clId="{E623609C-0EF4-4ECB-A655-127E285B354B}" dt="2021-03-10T02:49:43.342" v="121" actId="47"/>
        <pc:sldMkLst>
          <pc:docMk/>
          <pc:sldMk cId="969644735" sldId="2134803558"/>
        </pc:sldMkLst>
      </pc:sldChg>
      <pc:sldChg chg="modSp del mod ord">
        <pc:chgData name="Pierre Cavaroc" userId="150eff99-6aed-48f0-b13c-cabd0a4b3ac2" providerId="ADAL" clId="{E623609C-0EF4-4ECB-A655-127E285B354B}" dt="2021-03-21T15:20:58.118" v="2551" actId="2696"/>
        <pc:sldMkLst>
          <pc:docMk/>
          <pc:sldMk cId="924496228" sldId="2134803559"/>
        </pc:sldMkLst>
        <pc:spChg chg="mod">
          <ac:chgData name="Pierre Cavaroc" userId="150eff99-6aed-48f0-b13c-cabd0a4b3ac2" providerId="ADAL" clId="{E623609C-0EF4-4ECB-A655-127E285B354B}" dt="2021-03-21T15:20:46.809" v="2550" actId="108"/>
          <ac:spMkLst>
            <pc:docMk/>
            <pc:sldMk cId="924496228" sldId="2134803559"/>
            <ac:spMk id="2" creationId="{AAF2808E-DF8D-4003-A0F2-E671896FCC32}"/>
          </ac:spMkLst>
        </pc:spChg>
      </pc:sldChg>
      <pc:sldChg chg="delSp modSp del mod">
        <pc:chgData name="Pierre Cavaroc" userId="150eff99-6aed-48f0-b13c-cabd0a4b3ac2" providerId="ADAL" clId="{E623609C-0EF4-4ECB-A655-127E285B354B}" dt="2021-03-21T16:01:42.556" v="2783" actId="2696"/>
        <pc:sldMkLst>
          <pc:docMk/>
          <pc:sldMk cId="883833530" sldId="2134803560"/>
        </pc:sldMkLst>
        <pc:spChg chg="del">
          <ac:chgData name="Pierre Cavaroc" userId="150eff99-6aed-48f0-b13c-cabd0a4b3ac2" providerId="ADAL" clId="{E623609C-0EF4-4ECB-A655-127E285B354B}" dt="2021-03-21T15:19:37.488" v="2542" actId="478"/>
          <ac:spMkLst>
            <pc:docMk/>
            <pc:sldMk cId="883833530" sldId="2134803560"/>
            <ac:spMk id="5" creationId="{FE21F374-73C2-4FFF-B08A-581699442D80}"/>
          </ac:spMkLst>
        </pc:spChg>
        <pc:spChg chg="mod">
          <ac:chgData name="Pierre Cavaroc" userId="150eff99-6aed-48f0-b13c-cabd0a4b3ac2" providerId="ADAL" clId="{E623609C-0EF4-4ECB-A655-127E285B354B}" dt="2021-03-21T15:19:28.995" v="2540" actId="20577"/>
          <ac:spMkLst>
            <pc:docMk/>
            <pc:sldMk cId="883833530" sldId="2134803560"/>
            <ac:spMk id="6" creationId="{2AB9C281-B617-4A76-9AB2-5D25BA30E222}"/>
          </ac:spMkLst>
        </pc:spChg>
        <pc:spChg chg="del">
          <ac:chgData name="Pierre Cavaroc" userId="150eff99-6aed-48f0-b13c-cabd0a4b3ac2" providerId="ADAL" clId="{E623609C-0EF4-4ECB-A655-127E285B354B}" dt="2021-03-21T15:19:31.960" v="2541" actId="478"/>
          <ac:spMkLst>
            <pc:docMk/>
            <pc:sldMk cId="883833530" sldId="2134803560"/>
            <ac:spMk id="7" creationId="{13398BAC-AE39-415B-9156-1022004E1BB6}"/>
          </ac:spMkLst>
        </pc:spChg>
      </pc:sldChg>
      <pc:sldChg chg="addSp delSp modSp mod ord modTransition modClrScheme chgLayout">
        <pc:chgData name="Pierre Cavaroc" userId="150eff99-6aed-48f0-b13c-cabd0a4b3ac2" providerId="ADAL" clId="{E623609C-0EF4-4ECB-A655-127E285B354B}" dt="2021-03-21T23:32:47.887" v="6212"/>
        <pc:sldMkLst>
          <pc:docMk/>
          <pc:sldMk cId="2138582832" sldId="2134803561"/>
        </pc:sldMkLst>
        <pc:spChg chg="add del mod ord">
          <ac:chgData name="Pierre Cavaroc" userId="150eff99-6aed-48f0-b13c-cabd0a4b3ac2" providerId="ADAL" clId="{E623609C-0EF4-4ECB-A655-127E285B354B}" dt="2021-03-20T15:38:18.826" v="638" actId="700"/>
          <ac:spMkLst>
            <pc:docMk/>
            <pc:sldMk cId="2138582832" sldId="2134803561"/>
            <ac:spMk id="2" creationId="{09FAD68D-C5E6-45BB-9F8B-63F2FAFC5924}"/>
          </ac:spMkLst>
        </pc:spChg>
        <pc:spChg chg="del mod ord">
          <ac:chgData name="Pierre Cavaroc" userId="150eff99-6aed-48f0-b13c-cabd0a4b3ac2" providerId="ADAL" clId="{E623609C-0EF4-4ECB-A655-127E285B354B}" dt="2021-03-21T01:58:10.136" v="1481" actId="478"/>
          <ac:spMkLst>
            <pc:docMk/>
            <pc:sldMk cId="2138582832" sldId="2134803561"/>
            <ac:spMk id="3" creationId="{78E265E6-B288-4038-B22C-0FB39675E8AA}"/>
          </ac:spMkLst>
        </pc:spChg>
        <pc:spChg chg="add del mod ord">
          <ac:chgData name="Pierre Cavaroc" userId="150eff99-6aed-48f0-b13c-cabd0a4b3ac2" providerId="ADAL" clId="{E623609C-0EF4-4ECB-A655-127E285B354B}" dt="2021-03-21T01:58:01.175" v="1478" actId="478"/>
          <ac:spMkLst>
            <pc:docMk/>
            <pc:sldMk cId="2138582832" sldId="2134803561"/>
            <ac:spMk id="5" creationId="{9F22AC89-2C05-4756-A2DE-7D9FB20F50B0}"/>
          </ac:spMkLst>
        </pc:spChg>
        <pc:spChg chg="mod ord">
          <ac:chgData name="Pierre Cavaroc" userId="150eff99-6aed-48f0-b13c-cabd0a4b3ac2" providerId="ADAL" clId="{E623609C-0EF4-4ECB-A655-127E285B354B}" dt="2021-03-21T01:57:54.966" v="1477" actId="20577"/>
          <ac:spMkLst>
            <pc:docMk/>
            <pc:sldMk cId="2138582832" sldId="2134803561"/>
            <ac:spMk id="6" creationId="{D037EEB5-6036-41AA-855E-326A8E292CAE}"/>
          </ac:spMkLst>
        </pc:spChg>
        <pc:spChg chg="add del">
          <ac:chgData name="Pierre Cavaroc" userId="150eff99-6aed-48f0-b13c-cabd0a4b3ac2" providerId="ADAL" clId="{E623609C-0EF4-4ECB-A655-127E285B354B}" dt="2021-03-21T01:58:04.079" v="1479" actId="478"/>
          <ac:spMkLst>
            <pc:docMk/>
            <pc:sldMk cId="2138582832" sldId="2134803561"/>
            <ac:spMk id="7" creationId="{4EC44852-1515-453B-A130-3A13D40E42C3}"/>
          </ac:spMkLst>
        </pc:spChg>
      </pc:sldChg>
      <pc:sldChg chg="add del">
        <pc:chgData name="Pierre Cavaroc" userId="150eff99-6aed-48f0-b13c-cabd0a4b3ac2" providerId="ADAL" clId="{E623609C-0EF4-4ECB-A655-127E285B354B}" dt="2021-03-20T14:43:13.988" v="325" actId="2696"/>
        <pc:sldMkLst>
          <pc:docMk/>
          <pc:sldMk cId="626662644" sldId="2134803562"/>
        </pc:sldMkLst>
      </pc:sldChg>
      <pc:sldChg chg="addSp delSp modSp mod ord modTransition setBg modClrScheme chgLayout modNotesTx">
        <pc:chgData name="Pierre Cavaroc" userId="150eff99-6aed-48f0-b13c-cabd0a4b3ac2" providerId="ADAL" clId="{E623609C-0EF4-4ECB-A655-127E285B354B}" dt="2021-03-21T16:50:14.224" v="3245"/>
        <pc:sldMkLst>
          <pc:docMk/>
          <pc:sldMk cId="2473026198" sldId="2134803562"/>
        </pc:sldMkLst>
        <pc:spChg chg="add del">
          <ac:chgData name="Pierre Cavaroc" userId="150eff99-6aed-48f0-b13c-cabd0a4b3ac2" providerId="ADAL" clId="{E623609C-0EF4-4ECB-A655-127E285B354B}" dt="2021-03-20T14:59:14.892" v="343" actId="26606"/>
          <ac:spMkLst>
            <pc:docMk/>
            <pc:sldMk cId="2473026198" sldId="2134803562"/>
            <ac:spMk id="2" creationId="{AAF2808E-DF8D-4003-A0F2-E671896FCC32}"/>
          </ac:spMkLst>
        </pc:spChg>
        <pc:spChg chg="mod ord modVis">
          <ac:chgData name="Pierre Cavaroc" userId="150eff99-6aed-48f0-b13c-cabd0a4b3ac2" providerId="ADAL" clId="{E623609C-0EF4-4ECB-A655-127E285B354B}" dt="2021-03-20T21:47:52.539" v="1308" actId="700"/>
          <ac:spMkLst>
            <pc:docMk/>
            <pc:sldMk cId="2473026198" sldId="2134803562"/>
            <ac:spMk id="3" creationId="{3293F09B-F23F-4213-B498-605EC61EB62D}"/>
          </ac:spMkLst>
        </pc:spChg>
        <pc:spChg chg="add mod ord">
          <ac:chgData name="Pierre Cavaroc" userId="150eff99-6aed-48f0-b13c-cabd0a4b3ac2" providerId="ADAL" clId="{E623609C-0EF4-4ECB-A655-127E285B354B}" dt="2021-03-20T21:47:52.539" v="1308" actId="700"/>
          <ac:spMkLst>
            <pc:docMk/>
            <pc:sldMk cId="2473026198" sldId="2134803562"/>
            <ac:spMk id="4" creationId="{6065C074-C545-42B7-8049-2A571A05E4B9}"/>
          </ac:spMkLst>
        </pc:spChg>
        <pc:spChg chg="del mod ord">
          <ac:chgData name="Pierre Cavaroc" userId="150eff99-6aed-48f0-b13c-cabd0a4b3ac2" providerId="ADAL" clId="{E623609C-0EF4-4ECB-A655-127E285B354B}" dt="2021-03-20T15:03:05.670" v="521" actId="478"/>
          <ac:spMkLst>
            <pc:docMk/>
            <pc:sldMk cId="2473026198" sldId="2134803562"/>
            <ac:spMk id="4" creationId="{E23E2F0A-F1C1-4F5B-A5EF-9A76A9D61793}"/>
          </ac:spMkLst>
        </pc:spChg>
        <pc:spChg chg="add del mod">
          <ac:chgData name="Pierre Cavaroc" userId="150eff99-6aed-48f0-b13c-cabd0a4b3ac2" providerId="ADAL" clId="{E623609C-0EF4-4ECB-A655-127E285B354B}" dt="2021-03-20T15:10:29.650" v="573" actId="478"/>
          <ac:spMkLst>
            <pc:docMk/>
            <pc:sldMk cId="2473026198" sldId="2134803562"/>
            <ac:spMk id="7" creationId="{D0323920-5332-47AD-947F-E20841FAA729}"/>
          </ac:spMkLst>
        </pc:spChg>
        <pc:spChg chg="add del mod ord">
          <ac:chgData name="Pierre Cavaroc" userId="150eff99-6aed-48f0-b13c-cabd0a4b3ac2" providerId="ADAL" clId="{E623609C-0EF4-4ECB-A655-127E285B354B}" dt="2021-03-20T17:48:16.409" v="769" actId="478"/>
          <ac:spMkLst>
            <pc:docMk/>
            <pc:sldMk cId="2473026198" sldId="2134803562"/>
            <ac:spMk id="8" creationId="{860FF2E7-5955-4922-B192-D14E3DF34E91}"/>
          </ac:spMkLst>
        </pc:spChg>
        <pc:spChg chg="add del mod">
          <ac:chgData name="Pierre Cavaroc" userId="150eff99-6aed-48f0-b13c-cabd0a4b3ac2" providerId="ADAL" clId="{E623609C-0EF4-4ECB-A655-127E285B354B}" dt="2021-03-20T14:59:06.230" v="336" actId="26606"/>
          <ac:spMkLst>
            <pc:docMk/>
            <pc:sldMk cId="2473026198" sldId="2134803562"/>
            <ac:spMk id="10" creationId="{C137C12A-9770-4AB7-8E09-DEBC69EB09BC}"/>
          </ac:spMkLst>
        </pc:spChg>
        <pc:spChg chg="add del mod">
          <ac:chgData name="Pierre Cavaroc" userId="150eff99-6aed-48f0-b13c-cabd0a4b3ac2" providerId="ADAL" clId="{E623609C-0EF4-4ECB-A655-127E285B354B}" dt="2021-03-20T14:59:06.230" v="336" actId="26606"/>
          <ac:spMkLst>
            <pc:docMk/>
            <pc:sldMk cId="2473026198" sldId="2134803562"/>
            <ac:spMk id="12" creationId="{F5F82EC1-A17B-4851-9220-0FCA7170FAAE}"/>
          </ac:spMkLst>
        </pc:spChg>
        <pc:spChg chg="add del mod">
          <ac:chgData name="Pierre Cavaroc" userId="150eff99-6aed-48f0-b13c-cabd0a4b3ac2" providerId="ADAL" clId="{E623609C-0EF4-4ECB-A655-127E285B354B}" dt="2021-03-20T14:59:10.291" v="338" actId="26606"/>
          <ac:spMkLst>
            <pc:docMk/>
            <pc:sldMk cId="2473026198" sldId="2134803562"/>
            <ac:spMk id="14" creationId="{8DDCBA8D-5083-4608-B27D-4178945F90AA}"/>
          </ac:spMkLst>
        </pc:spChg>
        <pc:spChg chg="add del mod">
          <ac:chgData name="Pierre Cavaroc" userId="150eff99-6aed-48f0-b13c-cabd0a4b3ac2" providerId="ADAL" clId="{E623609C-0EF4-4ECB-A655-127E285B354B}" dt="2021-03-20T14:59:10.291" v="338" actId="26606"/>
          <ac:spMkLst>
            <pc:docMk/>
            <pc:sldMk cId="2473026198" sldId="2134803562"/>
            <ac:spMk id="15" creationId="{559453C4-10CE-4A4C-84CD-2E1B2E720AA1}"/>
          </ac:spMkLst>
        </pc:spChg>
        <pc:spChg chg="add del mod">
          <ac:chgData name="Pierre Cavaroc" userId="150eff99-6aed-48f0-b13c-cabd0a4b3ac2" providerId="ADAL" clId="{E623609C-0EF4-4ECB-A655-127E285B354B}" dt="2021-03-20T14:59:14.126" v="340" actId="26606"/>
          <ac:spMkLst>
            <pc:docMk/>
            <pc:sldMk cId="2473026198" sldId="2134803562"/>
            <ac:spMk id="17" creationId="{C137C12A-9770-4AB7-8E09-DEBC69EB09BC}"/>
          </ac:spMkLst>
        </pc:spChg>
        <pc:spChg chg="add del mod">
          <ac:chgData name="Pierre Cavaroc" userId="150eff99-6aed-48f0-b13c-cabd0a4b3ac2" providerId="ADAL" clId="{E623609C-0EF4-4ECB-A655-127E285B354B}" dt="2021-03-20T14:59:14.126" v="340" actId="26606"/>
          <ac:spMkLst>
            <pc:docMk/>
            <pc:sldMk cId="2473026198" sldId="2134803562"/>
            <ac:spMk id="18" creationId="{F5F82EC1-A17B-4851-9220-0FCA7170FAAE}"/>
          </ac:spMkLst>
        </pc:spChg>
        <pc:spChg chg="add del mod">
          <ac:chgData name="Pierre Cavaroc" userId="150eff99-6aed-48f0-b13c-cabd0a4b3ac2" providerId="ADAL" clId="{E623609C-0EF4-4ECB-A655-127E285B354B}" dt="2021-03-20T14:59:14.888" v="342" actId="26606"/>
          <ac:spMkLst>
            <pc:docMk/>
            <pc:sldMk cId="2473026198" sldId="2134803562"/>
            <ac:spMk id="20" creationId="{587E6B62-4F30-4DAD-B17C-6129A381D310}"/>
          </ac:spMkLst>
        </pc:spChg>
        <pc:spChg chg="add del mod">
          <ac:chgData name="Pierre Cavaroc" userId="150eff99-6aed-48f0-b13c-cabd0a4b3ac2" providerId="ADAL" clId="{E623609C-0EF4-4ECB-A655-127E285B354B}" dt="2021-03-20T15:00:14.515" v="356" actId="26606"/>
          <ac:spMkLst>
            <pc:docMk/>
            <pc:sldMk cId="2473026198" sldId="2134803562"/>
            <ac:spMk id="22" creationId="{AB8C6330-9E3F-43B5-9074-A65B6CA5F2DA}"/>
          </ac:spMkLst>
        </pc:spChg>
        <pc:spChg chg="add del mod">
          <ac:chgData name="Pierre Cavaroc" userId="150eff99-6aed-48f0-b13c-cabd0a4b3ac2" providerId="ADAL" clId="{E623609C-0EF4-4ECB-A655-127E285B354B}" dt="2021-03-20T15:00:04.774" v="347" actId="26606"/>
          <ac:spMkLst>
            <pc:docMk/>
            <pc:sldMk cId="2473026198" sldId="2134803562"/>
            <ac:spMk id="27" creationId="{E14E35F1-5073-4C9B-85A5-E12F6DB92F2D}"/>
          </ac:spMkLst>
        </pc:spChg>
        <pc:spChg chg="add del mod">
          <ac:chgData name="Pierre Cavaroc" userId="150eff99-6aed-48f0-b13c-cabd0a4b3ac2" providerId="ADAL" clId="{E623609C-0EF4-4ECB-A655-127E285B354B}" dt="2021-03-20T15:00:04.774" v="347" actId="26606"/>
          <ac:spMkLst>
            <pc:docMk/>
            <pc:sldMk cId="2473026198" sldId="2134803562"/>
            <ac:spMk id="29" creationId="{2C04AAA6-F649-402C-B55D-E6BCB097A249}"/>
          </ac:spMkLst>
        </pc:spChg>
        <pc:spChg chg="add del mod">
          <ac:chgData name="Pierre Cavaroc" userId="150eff99-6aed-48f0-b13c-cabd0a4b3ac2" providerId="ADAL" clId="{E623609C-0EF4-4ECB-A655-127E285B354B}" dt="2021-03-20T15:00:07.871" v="349" actId="26606"/>
          <ac:spMkLst>
            <pc:docMk/>
            <pc:sldMk cId="2473026198" sldId="2134803562"/>
            <ac:spMk id="31" creationId="{C0B15180-5060-431B-9577-8263C3A27152}"/>
          </ac:spMkLst>
        </pc:spChg>
        <pc:spChg chg="add del mod">
          <ac:chgData name="Pierre Cavaroc" userId="150eff99-6aed-48f0-b13c-cabd0a4b3ac2" providerId="ADAL" clId="{E623609C-0EF4-4ECB-A655-127E285B354B}" dt="2021-03-20T15:00:07.871" v="349" actId="26606"/>
          <ac:spMkLst>
            <pc:docMk/>
            <pc:sldMk cId="2473026198" sldId="2134803562"/>
            <ac:spMk id="32" creationId="{A439B53D-857A-4837-88E6-A502DF9BF209}"/>
          </ac:spMkLst>
        </pc:spChg>
        <pc:spChg chg="add del mod">
          <ac:chgData name="Pierre Cavaroc" userId="150eff99-6aed-48f0-b13c-cabd0a4b3ac2" providerId="ADAL" clId="{E623609C-0EF4-4ECB-A655-127E285B354B}" dt="2021-03-20T15:00:07.871" v="349" actId="26606"/>
          <ac:spMkLst>
            <pc:docMk/>
            <pc:sldMk cId="2473026198" sldId="2134803562"/>
            <ac:spMk id="33" creationId="{B80471A6-C319-42AF-A514-EF0BFCE0837E}"/>
          </ac:spMkLst>
        </pc:spChg>
        <pc:spChg chg="add del mod">
          <ac:chgData name="Pierre Cavaroc" userId="150eff99-6aed-48f0-b13c-cabd0a4b3ac2" providerId="ADAL" clId="{E623609C-0EF4-4ECB-A655-127E285B354B}" dt="2021-03-20T15:00:10.990" v="351" actId="26606"/>
          <ac:spMkLst>
            <pc:docMk/>
            <pc:sldMk cId="2473026198" sldId="2134803562"/>
            <ac:spMk id="35" creationId="{1C3D2AE2-C5D2-4F84-BCE0-4480B00BBFAC}"/>
          </ac:spMkLst>
        </pc:spChg>
        <pc:spChg chg="add del mod">
          <ac:chgData name="Pierre Cavaroc" userId="150eff99-6aed-48f0-b13c-cabd0a4b3ac2" providerId="ADAL" clId="{E623609C-0EF4-4ECB-A655-127E285B354B}" dt="2021-03-20T15:00:10.990" v="351" actId="26606"/>
          <ac:spMkLst>
            <pc:docMk/>
            <pc:sldMk cId="2473026198" sldId="2134803562"/>
            <ac:spMk id="36" creationId="{FD9120B1-A810-4CEE-9D36-EB0058CAC9F2}"/>
          </ac:spMkLst>
        </pc:spChg>
        <pc:spChg chg="add del mod">
          <ac:chgData name="Pierre Cavaroc" userId="150eff99-6aed-48f0-b13c-cabd0a4b3ac2" providerId="ADAL" clId="{E623609C-0EF4-4ECB-A655-127E285B354B}" dt="2021-03-20T15:00:10.990" v="351" actId="26606"/>
          <ac:spMkLst>
            <pc:docMk/>
            <pc:sldMk cId="2473026198" sldId="2134803562"/>
            <ac:spMk id="37" creationId="{E4F5EB15-746C-4068-92A3-D42ADBB8C548}"/>
          </ac:spMkLst>
        </pc:spChg>
        <pc:spChg chg="add del mod">
          <ac:chgData name="Pierre Cavaroc" userId="150eff99-6aed-48f0-b13c-cabd0a4b3ac2" providerId="ADAL" clId="{E623609C-0EF4-4ECB-A655-127E285B354B}" dt="2021-03-20T15:00:13.205" v="353" actId="26606"/>
          <ac:spMkLst>
            <pc:docMk/>
            <pc:sldMk cId="2473026198" sldId="2134803562"/>
            <ac:spMk id="39" creationId="{1CCA0F65-7BF4-43DF-B560-F13D9B0BA0AB}"/>
          </ac:spMkLst>
        </pc:spChg>
        <pc:spChg chg="add del mod">
          <ac:chgData name="Pierre Cavaroc" userId="150eff99-6aed-48f0-b13c-cabd0a4b3ac2" providerId="ADAL" clId="{E623609C-0EF4-4ECB-A655-127E285B354B}" dt="2021-03-20T15:00:13.205" v="353" actId="26606"/>
          <ac:spMkLst>
            <pc:docMk/>
            <pc:sldMk cId="2473026198" sldId="2134803562"/>
            <ac:spMk id="40" creationId="{F8E18244-0793-4B2F-A3A3-18A909463195}"/>
          </ac:spMkLst>
        </pc:spChg>
        <pc:spChg chg="add del mod">
          <ac:chgData name="Pierre Cavaroc" userId="150eff99-6aed-48f0-b13c-cabd0a4b3ac2" providerId="ADAL" clId="{E623609C-0EF4-4ECB-A655-127E285B354B}" dt="2021-03-20T15:00:13.205" v="353" actId="26606"/>
          <ac:spMkLst>
            <pc:docMk/>
            <pc:sldMk cId="2473026198" sldId="2134803562"/>
            <ac:spMk id="41" creationId="{372CA50A-7B3B-4AF9-93A2-4B7DF77A2D74}"/>
          </ac:spMkLst>
        </pc:spChg>
        <pc:spChg chg="add del mod">
          <ac:chgData name="Pierre Cavaroc" userId="150eff99-6aed-48f0-b13c-cabd0a4b3ac2" providerId="ADAL" clId="{E623609C-0EF4-4ECB-A655-127E285B354B}" dt="2021-03-20T15:00:14.510" v="355" actId="26606"/>
          <ac:spMkLst>
            <pc:docMk/>
            <pc:sldMk cId="2473026198" sldId="2134803562"/>
            <ac:spMk id="43" creationId="{1C3D2AE2-C5D2-4F84-BCE0-4480B00BBFAC}"/>
          </ac:spMkLst>
        </pc:spChg>
        <pc:spChg chg="add del mod">
          <ac:chgData name="Pierre Cavaroc" userId="150eff99-6aed-48f0-b13c-cabd0a4b3ac2" providerId="ADAL" clId="{E623609C-0EF4-4ECB-A655-127E285B354B}" dt="2021-03-20T15:00:14.510" v="355" actId="26606"/>
          <ac:spMkLst>
            <pc:docMk/>
            <pc:sldMk cId="2473026198" sldId="2134803562"/>
            <ac:spMk id="44" creationId="{FD9120B1-A810-4CEE-9D36-EB0058CAC9F2}"/>
          </ac:spMkLst>
        </pc:spChg>
        <pc:spChg chg="add del mod">
          <ac:chgData name="Pierre Cavaroc" userId="150eff99-6aed-48f0-b13c-cabd0a4b3ac2" providerId="ADAL" clId="{E623609C-0EF4-4ECB-A655-127E285B354B}" dt="2021-03-20T15:00:14.510" v="355" actId="26606"/>
          <ac:spMkLst>
            <pc:docMk/>
            <pc:sldMk cId="2473026198" sldId="2134803562"/>
            <ac:spMk id="45" creationId="{E4F5EB15-746C-4068-92A3-D42ADBB8C548}"/>
          </ac:spMkLst>
        </pc:spChg>
        <pc:spChg chg="add del mod ord">
          <ac:chgData name="Pierre Cavaroc" userId="150eff99-6aed-48f0-b13c-cabd0a4b3ac2" providerId="ADAL" clId="{E623609C-0EF4-4ECB-A655-127E285B354B}" dt="2021-03-20T20:59:16.357" v="896" actId="478"/>
          <ac:spMkLst>
            <pc:docMk/>
            <pc:sldMk cId="2473026198" sldId="2134803562"/>
            <ac:spMk id="47" creationId="{F8D4C68F-BA6D-438F-9F0D-A59DD59B5614}"/>
          </ac:spMkLst>
        </pc:spChg>
        <pc:spChg chg="add mod ord">
          <ac:chgData name="Pierre Cavaroc" userId="150eff99-6aed-48f0-b13c-cabd0a4b3ac2" providerId="ADAL" clId="{E623609C-0EF4-4ECB-A655-127E285B354B}" dt="2021-03-20T21:47:52.539" v="1308" actId="700"/>
          <ac:spMkLst>
            <pc:docMk/>
            <pc:sldMk cId="2473026198" sldId="2134803562"/>
            <ac:spMk id="48" creationId="{4C11995D-593C-4E7E-9C38-FBE766FF807D}"/>
          </ac:spMkLst>
        </pc:spChg>
        <pc:spChg chg="add del mod">
          <ac:chgData name="Pierre Cavaroc" userId="150eff99-6aed-48f0-b13c-cabd0a4b3ac2" providerId="ADAL" clId="{E623609C-0EF4-4ECB-A655-127E285B354B}" dt="2021-03-20T15:10:11.354" v="572" actId="478"/>
          <ac:spMkLst>
            <pc:docMk/>
            <pc:sldMk cId="2473026198" sldId="2134803562"/>
            <ac:spMk id="49" creationId="{25317F3C-D823-4FD8-9B6C-75BB0FD380FA}"/>
          </ac:spMkLst>
        </pc:spChg>
        <pc:picChg chg="add del mod ord">
          <ac:chgData name="Pierre Cavaroc" userId="150eff99-6aed-48f0-b13c-cabd0a4b3ac2" providerId="ADAL" clId="{E623609C-0EF4-4ECB-A655-127E285B354B}" dt="2021-03-20T15:00:14.515" v="356" actId="26606"/>
          <ac:picMkLst>
            <pc:docMk/>
            <pc:sldMk cId="2473026198" sldId="2134803562"/>
            <ac:picMk id="5" creationId="{2B83202A-A9BB-450F-A993-FC3A934D8C38}"/>
          </ac:picMkLst>
        </pc:picChg>
      </pc:sldChg>
      <pc:sldChg chg="addSp delSp modSp new del mod modClrScheme chgLayout">
        <pc:chgData name="Pierre Cavaroc" userId="150eff99-6aed-48f0-b13c-cabd0a4b3ac2" providerId="ADAL" clId="{E623609C-0EF4-4ECB-A655-127E285B354B}" dt="2021-03-20T20:57:34.888" v="888" actId="47"/>
        <pc:sldMkLst>
          <pc:docMk/>
          <pc:sldMk cId="1719457865" sldId="2134803563"/>
        </pc:sldMkLst>
        <pc:spChg chg="del">
          <ac:chgData name="Pierre Cavaroc" userId="150eff99-6aed-48f0-b13c-cabd0a4b3ac2" providerId="ADAL" clId="{E623609C-0EF4-4ECB-A655-127E285B354B}" dt="2021-03-20T20:45:12.778" v="794" actId="700"/>
          <ac:spMkLst>
            <pc:docMk/>
            <pc:sldMk cId="1719457865" sldId="2134803563"/>
            <ac:spMk id="2" creationId="{858947A1-7AF5-4469-9E3A-5835721A41BE}"/>
          </ac:spMkLst>
        </pc:spChg>
        <pc:spChg chg="del mod ord">
          <ac:chgData name="Pierre Cavaroc" userId="150eff99-6aed-48f0-b13c-cabd0a4b3ac2" providerId="ADAL" clId="{E623609C-0EF4-4ECB-A655-127E285B354B}" dt="2021-03-20T20:45:12.778" v="794" actId="700"/>
          <ac:spMkLst>
            <pc:docMk/>
            <pc:sldMk cId="1719457865" sldId="2134803563"/>
            <ac:spMk id="3" creationId="{B9E70D01-32BA-421E-B5A3-7FDB43AE49F6}"/>
          </ac:spMkLst>
        </pc:spChg>
        <pc:spChg chg="del">
          <ac:chgData name="Pierre Cavaroc" userId="150eff99-6aed-48f0-b13c-cabd0a4b3ac2" providerId="ADAL" clId="{E623609C-0EF4-4ECB-A655-127E285B354B}" dt="2021-03-20T20:45:12.778" v="794" actId="700"/>
          <ac:spMkLst>
            <pc:docMk/>
            <pc:sldMk cId="1719457865" sldId="2134803563"/>
            <ac:spMk id="4" creationId="{35D3AC8D-A8F5-48FF-A240-5025C599F110}"/>
          </ac:spMkLst>
        </pc:spChg>
        <pc:spChg chg="del">
          <ac:chgData name="Pierre Cavaroc" userId="150eff99-6aed-48f0-b13c-cabd0a4b3ac2" providerId="ADAL" clId="{E623609C-0EF4-4ECB-A655-127E285B354B}" dt="2021-03-20T20:45:12.778" v="794" actId="700"/>
          <ac:spMkLst>
            <pc:docMk/>
            <pc:sldMk cId="1719457865" sldId="2134803563"/>
            <ac:spMk id="5" creationId="{4C7DDF45-AE97-4BE3-A426-4E75EDF69794}"/>
          </ac:spMkLst>
        </pc:spChg>
        <pc:spChg chg="add del mod ord">
          <ac:chgData name="Pierre Cavaroc" userId="150eff99-6aed-48f0-b13c-cabd0a4b3ac2" providerId="ADAL" clId="{E623609C-0EF4-4ECB-A655-127E285B354B}" dt="2021-03-20T20:49:06.273" v="841" actId="700"/>
          <ac:spMkLst>
            <pc:docMk/>
            <pc:sldMk cId="1719457865" sldId="2134803563"/>
            <ac:spMk id="6" creationId="{D87C095D-6430-47A2-834C-49943DB03FD3}"/>
          </ac:spMkLst>
        </pc:spChg>
        <pc:spChg chg="add mod ord">
          <ac:chgData name="Pierre Cavaroc" userId="150eff99-6aed-48f0-b13c-cabd0a4b3ac2" providerId="ADAL" clId="{E623609C-0EF4-4ECB-A655-127E285B354B}" dt="2021-03-20T20:49:06.273" v="841" actId="700"/>
          <ac:spMkLst>
            <pc:docMk/>
            <pc:sldMk cId="1719457865" sldId="2134803563"/>
            <ac:spMk id="7" creationId="{2A850798-9982-4AEC-B02A-F8D85D3A7E90}"/>
          </ac:spMkLst>
        </pc:spChg>
        <pc:spChg chg="add mod">
          <ac:chgData name="Pierre Cavaroc" userId="150eff99-6aed-48f0-b13c-cabd0a4b3ac2" providerId="ADAL" clId="{E623609C-0EF4-4ECB-A655-127E285B354B}" dt="2021-03-20T20:57:22.522" v="887" actId="20577"/>
          <ac:spMkLst>
            <pc:docMk/>
            <pc:sldMk cId="1719457865" sldId="2134803563"/>
            <ac:spMk id="8" creationId="{5F379629-D6C2-4A95-B514-2F8381B55EEF}"/>
          </ac:spMkLst>
        </pc:spChg>
      </pc:sldChg>
      <pc:sldChg chg="addSp delSp modSp new mod modTransition modClrScheme chgLayout modNotesTx">
        <pc:chgData name="Pierre Cavaroc" userId="150eff99-6aed-48f0-b13c-cabd0a4b3ac2" providerId="ADAL" clId="{E623609C-0EF4-4ECB-A655-127E285B354B}" dt="2021-03-21T16:50:14.224" v="3245"/>
        <pc:sldMkLst>
          <pc:docMk/>
          <pc:sldMk cId="2134518439" sldId="2134803563"/>
        </pc:sldMkLst>
        <pc:spChg chg="del">
          <ac:chgData name="Pierre Cavaroc" userId="150eff99-6aed-48f0-b13c-cabd0a4b3ac2" providerId="ADAL" clId="{E623609C-0EF4-4ECB-A655-127E285B354B}" dt="2021-03-20T20:59:47.265" v="898" actId="700"/>
          <ac:spMkLst>
            <pc:docMk/>
            <pc:sldMk cId="2134518439" sldId="2134803563"/>
            <ac:spMk id="2" creationId="{DFCDAD95-3C39-4D2B-A84E-AFFAD2122128}"/>
          </ac:spMkLst>
        </pc:spChg>
        <pc:spChg chg="del mod ord">
          <ac:chgData name="Pierre Cavaroc" userId="150eff99-6aed-48f0-b13c-cabd0a4b3ac2" providerId="ADAL" clId="{E623609C-0EF4-4ECB-A655-127E285B354B}" dt="2021-03-20T20:59:47.265" v="898" actId="700"/>
          <ac:spMkLst>
            <pc:docMk/>
            <pc:sldMk cId="2134518439" sldId="2134803563"/>
            <ac:spMk id="3" creationId="{FEF9824A-59AA-4DF2-9303-054C81C1ECDC}"/>
          </ac:spMkLst>
        </pc:spChg>
        <pc:spChg chg="del mod ord">
          <ac:chgData name="Pierre Cavaroc" userId="150eff99-6aed-48f0-b13c-cabd0a4b3ac2" providerId="ADAL" clId="{E623609C-0EF4-4ECB-A655-127E285B354B}" dt="2021-03-20T20:59:47.265" v="898" actId="700"/>
          <ac:spMkLst>
            <pc:docMk/>
            <pc:sldMk cId="2134518439" sldId="2134803563"/>
            <ac:spMk id="4" creationId="{C19C8198-4CC1-48C5-B070-3B56A82B572C}"/>
          </ac:spMkLst>
        </pc:spChg>
        <pc:spChg chg="del">
          <ac:chgData name="Pierre Cavaroc" userId="150eff99-6aed-48f0-b13c-cabd0a4b3ac2" providerId="ADAL" clId="{E623609C-0EF4-4ECB-A655-127E285B354B}" dt="2021-03-20T20:59:47.265" v="898" actId="700"/>
          <ac:spMkLst>
            <pc:docMk/>
            <pc:sldMk cId="2134518439" sldId="2134803563"/>
            <ac:spMk id="5" creationId="{260375E0-FB1B-4D7B-9E33-5D440CEF7157}"/>
          </ac:spMkLst>
        </pc:spChg>
        <pc:spChg chg="add mod ord">
          <ac:chgData name="Pierre Cavaroc" userId="150eff99-6aed-48f0-b13c-cabd0a4b3ac2" providerId="ADAL" clId="{E623609C-0EF4-4ECB-A655-127E285B354B}" dt="2021-03-20T21:51:43.475" v="1361" actId="700"/>
          <ac:spMkLst>
            <pc:docMk/>
            <pc:sldMk cId="2134518439" sldId="2134803563"/>
            <ac:spMk id="6" creationId="{C309F694-4527-499F-BB07-819CDED94629}"/>
          </ac:spMkLst>
        </pc:spChg>
        <pc:spChg chg="add del mod ord">
          <ac:chgData name="Pierre Cavaroc" userId="150eff99-6aed-48f0-b13c-cabd0a4b3ac2" providerId="ADAL" clId="{E623609C-0EF4-4ECB-A655-127E285B354B}" dt="2021-03-20T21:12:56.249" v="966"/>
          <ac:spMkLst>
            <pc:docMk/>
            <pc:sldMk cId="2134518439" sldId="2134803563"/>
            <ac:spMk id="7" creationId="{221D9A29-B65E-4F9C-B3F4-65D9868CAB7D}"/>
          </ac:spMkLst>
        </pc:spChg>
        <pc:spChg chg="add del">
          <ac:chgData name="Pierre Cavaroc" userId="150eff99-6aed-48f0-b13c-cabd0a4b3ac2" providerId="ADAL" clId="{E623609C-0EF4-4ECB-A655-127E285B354B}" dt="2021-03-20T21:13:10.818" v="972" actId="22"/>
          <ac:spMkLst>
            <pc:docMk/>
            <pc:sldMk cId="2134518439" sldId="2134803563"/>
            <ac:spMk id="11" creationId="{4BB2CDE3-C55E-420D-A11E-FD09D67316E0}"/>
          </ac:spMkLst>
        </pc:spChg>
        <pc:spChg chg="add del mod">
          <ac:chgData name="Pierre Cavaroc" userId="150eff99-6aed-48f0-b13c-cabd0a4b3ac2" providerId="ADAL" clId="{E623609C-0EF4-4ECB-A655-127E285B354B}" dt="2021-03-20T21:17:58.358" v="1015" actId="21"/>
          <ac:spMkLst>
            <pc:docMk/>
            <pc:sldMk cId="2134518439" sldId="2134803563"/>
            <ac:spMk id="13" creationId="{D3C1B35A-BDD3-4B77-A69B-EA13D78BA040}"/>
          </ac:spMkLst>
        </pc:spChg>
        <pc:spChg chg="add del mod">
          <ac:chgData name="Pierre Cavaroc" userId="150eff99-6aed-48f0-b13c-cabd0a4b3ac2" providerId="ADAL" clId="{E623609C-0EF4-4ECB-A655-127E285B354B}" dt="2021-03-20T21:18:55.223" v="1054" actId="478"/>
          <ac:spMkLst>
            <pc:docMk/>
            <pc:sldMk cId="2134518439" sldId="2134803563"/>
            <ac:spMk id="15" creationId="{DD6237DE-B74D-4C7F-9FBE-0EDDD073DC08}"/>
          </ac:spMkLst>
        </pc:spChg>
        <pc:spChg chg="add mod ord">
          <ac:chgData name="Pierre Cavaroc" userId="150eff99-6aed-48f0-b13c-cabd0a4b3ac2" providerId="ADAL" clId="{E623609C-0EF4-4ECB-A655-127E285B354B}" dt="2021-03-20T21:52:24.351" v="1368" actId="1076"/>
          <ac:spMkLst>
            <pc:docMk/>
            <pc:sldMk cId="2134518439" sldId="2134803563"/>
            <ac:spMk id="17" creationId="{B8EEFCA7-BEF4-4E0F-9BA9-2AC21C6F6E22}"/>
          </ac:spMkLst>
        </pc:spChg>
        <pc:spChg chg="add mod">
          <ac:chgData name="Pierre Cavaroc" userId="150eff99-6aed-48f0-b13c-cabd0a4b3ac2" providerId="ADAL" clId="{E623609C-0EF4-4ECB-A655-127E285B354B}" dt="2021-03-21T16:27:48.218" v="3042" actId="207"/>
          <ac:spMkLst>
            <pc:docMk/>
            <pc:sldMk cId="2134518439" sldId="2134803563"/>
            <ac:spMk id="19" creationId="{75710A02-76C8-4BB0-95B1-8A877337B82D}"/>
          </ac:spMkLst>
        </pc:spChg>
        <pc:spChg chg="add mod">
          <ac:chgData name="Pierre Cavaroc" userId="150eff99-6aed-48f0-b13c-cabd0a4b3ac2" providerId="ADAL" clId="{E623609C-0EF4-4ECB-A655-127E285B354B}" dt="2021-03-21T16:28:02.937" v="3044" actId="207"/>
          <ac:spMkLst>
            <pc:docMk/>
            <pc:sldMk cId="2134518439" sldId="2134803563"/>
            <ac:spMk id="21" creationId="{B3FEDCFB-FED7-4987-B13D-640C516D423E}"/>
          </ac:spMkLst>
        </pc:spChg>
        <pc:grpChg chg="add mod">
          <ac:chgData name="Pierre Cavaroc" userId="150eff99-6aed-48f0-b13c-cabd0a4b3ac2" providerId="ADAL" clId="{E623609C-0EF4-4ECB-A655-127E285B354B}" dt="2021-03-20T21:22:07.569" v="1117" actId="1076"/>
          <ac:grpSpMkLst>
            <pc:docMk/>
            <pc:sldMk cId="2134518439" sldId="2134803563"/>
            <ac:grpSpMk id="20" creationId="{A95B90FC-8EAF-4CCA-875F-DBE5FDFE21F7}"/>
          </ac:grpSpMkLst>
        </pc:grpChg>
        <pc:picChg chg="add del mod">
          <ac:chgData name="Pierre Cavaroc" userId="150eff99-6aed-48f0-b13c-cabd0a4b3ac2" providerId="ADAL" clId="{E623609C-0EF4-4ECB-A655-127E285B354B}" dt="2021-03-20T21:17:58.358" v="1015" actId="21"/>
          <ac:picMkLst>
            <pc:docMk/>
            <pc:sldMk cId="2134518439" sldId="2134803563"/>
            <ac:picMk id="9" creationId="{06DA7AE3-9912-47A6-A4B1-2896F13D0BF3}"/>
          </ac:picMkLst>
        </pc:picChg>
        <pc:picChg chg="add mod">
          <ac:chgData name="Pierre Cavaroc" userId="150eff99-6aed-48f0-b13c-cabd0a4b3ac2" providerId="ADAL" clId="{E623609C-0EF4-4ECB-A655-127E285B354B}" dt="2021-03-20T21:16:59.378" v="1012" actId="571"/>
          <ac:picMkLst>
            <pc:docMk/>
            <pc:sldMk cId="2134518439" sldId="2134803563"/>
            <ac:picMk id="14" creationId="{3E5B65FC-5FDF-4241-81EC-80D75B2C2BCC}"/>
          </ac:picMkLst>
        </pc:picChg>
        <pc:picChg chg="add mod">
          <ac:chgData name="Pierre Cavaroc" userId="150eff99-6aed-48f0-b13c-cabd0a4b3ac2" providerId="ADAL" clId="{E623609C-0EF4-4ECB-A655-127E285B354B}" dt="2021-03-20T21:18:11.600" v="1018" actId="164"/>
          <ac:picMkLst>
            <pc:docMk/>
            <pc:sldMk cId="2134518439" sldId="2134803563"/>
            <ac:picMk id="18" creationId="{8D61802C-8BD2-4E4C-82F0-DA7E8E661E4F}"/>
          </ac:picMkLst>
        </pc:picChg>
      </pc:sldChg>
      <pc:sldChg chg="addSp delSp modSp new del mod modClrScheme chgLayout">
        <pc:chgData name="Pierre Cavaroc" userId="150eff99-6aed-48f0-b13c-cabd0a4b3ac2" providerId="ADAL" clId="{E623609C-0EF4-4ECB-A655-127E285B354B}" dt="2021-03-20T20:44:21.958" v="790" actId="47"/>
        <pc:sldMkLst>
          <pc:docMk/>
          <pc:sldMk cId="2597522795" sldId="2134803563"/>
        </pc:sldMkLst>
        <pc:spChg chg="add del">
          <ac:chgData name="Pierre Cavaroc" userId="150eff99-6aed-48f0-b13c-cabd0a4b3ac2" providerId="ADAL" clId="{E623609C-0EF4-4ECB-A655-127E285B354B}" dt="2021-03-20T15:39:09.889" v="652" actId="26606"/>
          <ac:spMkLst>
            <pc:docMk/>
            <pc:sldMk cId="2597522795" sldId="2134803563"/>
            <ac:spMk id="2" creationId="{19189E26-DAD2-4A74-9D4E-BC8A65F360CD}"/>
          </ac:spMkLst>
        </pc:spChg>
        <pc:spChg chg="del mod">
          <ac:chgData name="Pierre Cavaroc" userId="150eff99-6aed-48f0-b13c-cabd0a4b3ac2" providerId="ADAL" clId="{E623609C-0EF4-4ECB-A655-127E285B354B}" dt="2021-03-20T15:39:03.988" v="647" actId="478"/>
          <ac:spMkLst>
            <pc:docMk/>
            <pc:sldMk cId="2597522795" sldId="2134803563"/>
            <ac:spMk id="3" creationId="{AB5C5D24-DEA4-4799-A170-3021E5AEB30F}"/>
          </ac:spMkLst>
        </pc:spChg>
        <pc:spChg chg="add del">
          <ac:chgData name="Pierre Cavaroc" userId="150eff99-6aed-48f0-b13c-cabd0a4b3ac2" providerId="ADAL" clId="{E623609C-0EF4-4ECB-A655-127E285B354B}" dt="2021-03-20T15:39:09.889" v="652" actId="26606"/>
          <ac:spMkLst>
            <pc:docMk/>
            <pc:sldMk cId="2597522795" sldId="2134803563"/>
            <ac:spMk id="4" creationId="{4E25F617-CECE-44EF-946C-ECDC052946EC}"/>
          </ac:spMkLst>
        </pc:spChg>
        <pc:spChg chg="add del">
          <ac:chgData name="Pierre Cavaroc" userId="150eff99-6aed-48f0-b13c-cabd0a4b3ac2" providerId="ADAL" clId="{E623609C-0EF4-4ECB-A655-127E285B354B}" dt="2021-03-20T15:39:09.889" v="652" actId="26606"/>
          <ac:spMkLst>
            <pc:docMk/>
            <pc:sldMk cId="2597522795" sldId="2134803563"/>
            <ac:spMk id="5" creationId="{A0DF9CA4-EAC6-4102-B1AE-7CA23928AC15}"/>
          </ac:spMkLst>
        </pc:spChg>
        <pc:spChg chg="add del mod">
          <ac:chgData name="Pierre Cavaroc" userId="150eff99-6aed-48f0-b13c-cabd0a4b3ac2" providerId="ADAL" clId="{E623609C-0EF4-4ECB-A655-127E285B354B}" dt="2021-03-20T15:39:09.889" v="652" actId="26606"/>
          <ac:spMkLst>
            <pc:docMk/>
            <pc:sldMk cId="2597522795" sldId="2134803563"/>
            <ac:spMk id="7" creationId="{4332AE02-C2B6-434E-B5EC-A8210EA070E0}"/>
          </ac:spMkLst>
        </pc:spChg>
        <pc:spChg chg="add del mod ord">
          <ac:chgData name="Pierre Cavaroc" userId="150eff99-6aed-48f0-b13c-cabd0a4b3ac2" providerId="ADAL" clId="{E623609C-0EF4-4ECB-A655-127E285B354B}" dt="2021-03-20T15:39:41.439" v="654" actId="700"/>
          <ac:spMkLst>
            <pc:docMk/>
            <pc:sldMk cId="2597522795" sldId="2134803563"/>
            <ac:spMk id="8" creationId="{DD2D0E9C-E6A6-47CF-BC1E-D5A33C165F2A}"/>
          </ac:spMkLst>
        </pc:spChg>
        <pc:spChg chg="add del mod ord">
          <ac:chgData name="Pierre Cavaroc" userId="150eff99-6aed-48f0-b13c-cabd0a4b3ac2" providerId="ADAL" clId="{E623609C-0EF4-4ECB-A655-127E285B354B}" dt="2021-03-20T15:39:41.439" v="654" actId="700"/>
          <ac:spMkLst>
            <pc:docMk/>
            <pc:sldMk cId="2597522795" sldId="2134803563"/>
            <ac:spMk id="10" creationId="{9F4FE0B1-63ED-4B5D-81E3-61C483EA3217}"/>
          </ac:spMkLst>
        </pc:spChg>
        <pc:spChg chg="add del mod ord">
          <ac:chgData name="Pierre Cavaroc" userId="150eff99-6aed-48f0-b13c-cabd0a4b3ac2" providerId="ADAL" clId="{E623609C-0EF4-4ECB-A655-127E285B354B}" dt="2021-03-20T15:39:41.439" v="654" actId="700"/>
          <ac:spMkLst>
            <pc:docMk/>
            <pc:sldMk cId="2597522795" sldId="2134803563"/>
            <ac:spMk id="11" creationId="{0189CDD7-A6BC-46B2-B1C2-2776456A1563}"/>
          </ac:spMkLst>
        </pc:spChg>
        <pc:spChg chg="add del mod">
          <ac:chgData name="Pierre Cavaroc" userId="150eff99-6aed-48f0-b13c-cabd0a4b3ac2" providerId="ADAL" clId="{E623609C-0EF4-4ECB-A655-127E285B354B}" dt="2021-03-20T15:39:09.885" v="651" actId="26606"/>
          <ac:spMkLst>
            <pc:docMk/>
            <pc:sldMk cId="2597522795" sldId="2134803563"/>
            <ac:spMk id="12" creationId="{3092DD8A-843F-4ABD-97CD-EF6373D391A1}"/>
          </ac:spMkLst>
        </pc:spChg>
        <pc:spChg chg="add del mod">
          <ac:chgData name="Pierre Cavaroc" userId="150eff99-6aed-48f0-b13c-cabd0a4b3ac2" providerId="ADAL" clId="{E623609C-0EF4-4ECB-A655-127E285B354B}" dt="2021-03-20T15:39:08.869" v="649" actId="26606"/>
          <ac:spMkLst>
            <pc:docMk/>
            <pc:sldMk cId="2597522795" sldId="2134803563"/>
            <ac:spMk id="13" creationId="{147635B7-0821-4FFC-8C09-91F46C54E201}"/>
          </ac:spMkLst>
        </pc:spChg>
        <pc:spChg chg="add del mod">
          <ac:chgData name="Pierre Cavaroc" userId="150eff99-6aed-48f0-b13c-cabd0a4b3ac2" providerId="ADAL" clId="{E623609C-0EF4-4ECB-A655-127E285B354B}" dt="2021-03-20T15:39:09.885" v="651" actId="26606"/>
          <ac:spMkLst>
            <pc:docMk/>
            <pc:sldMk cId="2597522795" sldId="2134803563"/>
            <ac:spMk id="14" creationId="{A113CF83-C741-4DCC-B8D6-CBC6EBE7A0B4}"/>
          </ac:spMkLst>
        </pc:spChg>
        <pc:spChg chg="add del mod">
          <ac:chgData name="Pierre Cavaroc" userId="150eff99-6aed-48f0-b13c-cabd0a4b3ac2" providerId="ADAL" clId="{E623609C-0EF4-4ECB-A655-127E285B354B}" dt="2021-03-20T15:39:08.869" v="649" actId="26606"/>
          <ac:spMkLst>
            <pc:docMk/>
            <pc:sldMk cId="2597522795" sldId="2134803563"/>
            <ac:spMk id="15" creationId="{5D86A487-5220-479C-8B2A-55ABD4C01F27}"/>
          </ac:spMkLst>
        </pc:spChg>
        <pc:spChg chg="add del mod ord">
          <ac:chgData name="Pierre Cavaroc" userId="150eff99-6aed-48f0-b13c-cabd0a4b3ac2" providerId="ADAL" clId="{E623609C-0EF4-4ECB-A655-127E285B354B}" dt="2021-03-20T15:39:50.894" v="655" actId="700"/>
          <ac:spMkLst>
            <pc:docMk/>
            <pc:sldMk cId="2597522795" sldId="2134803563"/>
            <ac:spMk id="16" creationId="{D922D1A3-2D2A-4C40-B94F-73D5FC6EDEF7}"/>
          </ac:spMkLst>
        </pc:spChg>
        <pc:spChg chg="add del mod ord">
          <ac:chgData name="Pierre Cavaroc" userId="150eff99-6aed-48f0-b13c-cabd0a4b3ac2" providerId="ADAL" clId="{E623609C-0EF4-4ECB-A655-127E285B354B}" dt="2021-03-20T15:39:50.894" v="655" actId="700"/>
          <ac:spMkLst>
            <pc:docMk/>
            <pc:sldMk cId="2597522795" sldId="2134803563"/>
            <ac:spMk id="17" creationId="{D595DD04-9B25-444C-B677-509824095AF9}"/>
          </ac:spMkLst>
        </pc:spChg>
        <pc:spChg chg="add del mod ord">
          <ac:chgData name="Pierre Cavaroc" userId="150eff99-6aed-48f0-b13c-cabd0a4b3ac2" providerId="ADAL" clId="{E623609C-0EF4-4ECB-A655-127E285B354B}" dt="2021-03-20T15:39:50.894" v="655" actId="700"/>
          <ac:spMkLst>
            <pc:docMk/>
            <pc:sldMk cId="2597522795" sldId="2134803563"/>
            <ac:spMk id="18" creationId="{244AF2B4-830E-4D44-B5D4-D31AA4DBCB9F}"/>
          </ac:spMkLst>
        </pc:spChg>
        <pc:spChg chg="add del mod ord">
          <ac:chgData name="Pierre Cavaroc" userId="150eff99-6aed-48f0-b13c-cabd0a4b3ac2" providerId="ADAL" clId="{E623609C-0EF4-4ECB-A655-127E285B354B}" dt="2021-03-20T15:39:41.439" v="654" actId="700"/>
          <ac:spMkLst>
            <pc:docMk/>
            <pc:sldMk cId="2597522795" sldId="2134803563"/>
            <ac:spMk id="19" creationId="{DF47E092-2D33-4488-B6B0-229127B0C416}"/>
          </ac:spMkLst>
        </pc:spChg>
        <pc:spChg chg="add del mod ord">
          <ac:chgData name="Pierre Cavaroc" userId="150eff99-6aed-48f0-b13c-cabd0a4b3ac2" providerId="ADAL" clId="{E623609C-0EF4-4ECB-A655-127E285B354B}" dt="2021-03-20T15:40:12.866" v="672" actId="478"/>
          <ac:spMkLst>
            <pc:docMk/>
            <pc:sldMk cId="2597522795" sldId="2134803563"/>
            <ac:spMk id="20" creationId="{1AA2C94B-B8ED-4F74-90C9-B0C2AB4033B5}"/>
          </ac:spMkLst>
        </pc:spChg>
        <pc:spChg chg="add del mod ord">
          <ac:chgData name="Pierre Cavaroc" userId="150eff99-6aed-48f0-b13c-cabd0a4b3ac2" providerId="ADAL" clId="{E623609C-0EF4-4ECB-A655-127E285B354B}" dt="2021-03-20T17:45:02.031" v="753" actId="700"/>
          <ac:spMkLst>
            <pc:docMk/>
            <pc:sldMk cId="2597522795" sldId="2134803563"/>
            <ac:spMk id="21" creationId="{C2FEF67C-62A7-4B36-8650-68FFEA30EC48}"/>
          </ac:spMkLst>
        </pc:spChg>
        <pc:spChg chg="add del mod ord">
          <ac:chgData name="Pierre Cavaroc" userId="150eff99-6aed-48f0-b13c-cabd0a4b3ac2" providerId="ADAL" clId="{E623609C-0EF4-4ECB-A655-127E285B354B}" dt="2021-03-20T17:45:02.031" v="753" actId="700"/>
          <ac:spMkLst>
            <pc:docMk/>
            <pc:sldMk cId="2597522795" sldId="2134803563"/>
            <ac:spMk id="23" creationId="{7B317F75-05FC-416D-A2F6-3E78408F0920}"/>
          </ac:spMkLst>
        </pc:spChg>
        <pc:spChg chg="add mod ord">
          <ac:chgData name="Pierre Cavaroc" userId="150eff99-6aed-48f0-b13c-cabd0a4b3ac2" providerId="ADAL" clId="{E623609C-0EF4-4ECB-A655-127E285B354B}" dt="2021-03-20T17:45:02.031" v="753" actId="700"/>
          <ac:spMkLst>
            <pc:docMk/>
            <pc:sldMk cId="2597522795" sldId="2134803563"/>
            <ac:spMk id="24" creationId="{C3B2C7C4-CF2B-4995-B282-12C63346A631}"/>
          </ac:spMkLst>
        </pc:spChg>
        <pc:picChg chg="add del">
          <ac:chgData name="Pierre Cavaroc" userId="150eff99-6aed-48f0-b13c-cabd0a4b3ac2" providerId="ADAL" clId="{E623609C-0EF4-4ECB-A655-127E285B354B}" dt="2021-03-20T15:39:08.869" v="649" actId="26606"/>
          <ac:picMkLst>
            <pc:docMk/>
            <pc:sldMk cId="2597522795" sldId="2134803563"/>
            <ac:picMk id="9" creationId="{DB8D2762-1F81-42D9-ABCF-9150425B36C1}"/>
          </ac:picMkLst>
        </pc:picChg>
      </pc:sldChg>
      <pc:sldChg chg="addSp delSp modSp new mod modTransition modAnim chgLayout modNotesTx">
        <pc:chgData name="Pierre Cavaroc" userId="150eff99-6aed-48f0-b13c-cabd0a4b3ac2" providerId="ADAL" clId="{E623609C-0EF4-4ECB-A655-127E285B354B}" dt="2021-03-21T23:32:03.661" v="6205" actId="20577"/>
        <pc:sldMkLst>
          <pc:docMk/>
          <pc:sldMk cId="3777336187" sldId="2134803564"/>
        </pc:sldMkLst>
        <pc:spChg chg="del">
          <ac:chgData name="Pierre Cavaroc" userId="150eff99-6aed-48f0-b13c-cabd0a4b3ac2" providerId="ADAL" clId="{E623609C-0EF4-4ECB-A655-127E285B354B}" dt="2021-03-20T21:27:39.649" v="1147" actId="700"/>
          <ac:spMkLst>
            <pc:docMk/>
            <pc:sldMk cId="3777336187" sldId="2134803564"/>
            <ac:spMk id="2" creationId="{4C9DAB5D-2A86-4349-A100-00E3497D43C3}"/>
          </ac:spMkLst>
        </pc:spChg>
        <pc:spChg chg="mod ord">
          <ac:chgData name="Pierre Cavaroc" userId="150eff99-6aed-48f0-b13c-cabd0a4b3ac2" providerId="ADAL" clId="{E623609C-0EF4-4ECB-A655-127E285B354B}" dt="2021-03-20T21:52:51.296" v="1369" actId="700"/>
          <ac:spMkLst>
            <pc:docMk/>
            <pc:sldMk cId="3777336187" sldId="2134803564"/>
            <ac:spMk id="3" creationId="{B18D694B-B42D-45E2-93AC-7DA977E14BDE}"/>
          </ac:spMkLst>
        </pc:spChg>
        <pc:spChg chg="del">
          <ac:chgData name="Pierre Cavaroc" userId="150eff99-6aed-48f0-b13c-cabd0a4b3ac2" providerId="ADAL" clId="{E623609C-0EF4-4ECB-A655-127E285B354B}" dt="2021-03-20T21:27:39.649" v="1147" actId="700"/>
          <ac:spMkLst>
            <pc:docMk/>
            <pc:sldMk cId="3777336187" sldId="2134803564"/>
            <ac:spMk id="4" creationId="{58B63C85-5627-4194-92B6-C5354FD8B1C0}"/>
          </ac:spMkLst>
        </pc:spChg>
        <pc:spChg chg="add del mod ord">
          <ac:chgData name="Pierre Cavaroc" userId="150eff99-6aed-48f0-b13c-cabd0a4b3ac2" providerId="ADAL" clId="{E623609C-0EF4-4ECB-A655-127E285B354B}" dt="2021-03-20T21:52:51.296" v="1369" actId="700"/>
          <ac:spMkLst>
            <pc:docMk/>
            <pc:sldMk cId="3777336187" sldId="2134803564"/>
            <ac:spMk id="5" creationId="{9F82DC79-2739-4120-8FA7-F4D233F195ED}"/>
          </ac:spMkLst>
        </pc:spChg>
        <pc:spChg chg="add del mod ord">
          <ac:chgData name="Pierre Cavaroc" userId="150eff99-6aed-48f0-b13c-cabd0a4b3ac2" providerId="ADAL" clId="{E623609C-0EF4-4ECB-A655-127E285B354B}" dt="2021-03-20T21:52:51.296" v="1369" actId="700"/>
          <ac:spMkLst>
            <pc:docMk/>
            <pc:sldMk cId="3777336187" sldId="2134803564"/>
            <ac:spMk id="6" creationId="{2F5BB7EB-C36C-4373-BCFC-9DF84604D335}"/>
          </ac:spMkLst>
        </pc:spChg>
        <pc:spChg chg="add mod ord">
          <ac:chgData name="Pierre Cavaroc" userId="150eff99-6aed-48f0-b13c-cabd0a4b3ac2" providerId="ADAL" clId="{E623609C-0EF4-4ECB-A655-127E285B354B}" dt="2021-03-21T01:56:20.039" v="1457" actId="20577"/>
          <ac:spMkLst>
            <pc:docMk/>
            <pc:sldMk cId="3777336187" sldId="2134803564"/>
            <ac:spMk id="7" creationId="{01843830-DCCD-4FF5-9A1C-C01CB169CE62}"/>
          </ac:spMkLst>
        </pc:spChg>
        <pc:spChg chg="add del mod ord">
          <ac:chgData name="Pierre Cavaroc" userId="150eff99-6aed-48f0-b13c-cabd0a4b3ac2" providerId="ADAL" clId="{E623609C-0EF4-4ECB-A655-127E285B354B}" dt="2021-03-20T21:54:29.584" v="1383" actId="931"/>
          <ac:spMkLst>
            <pc:docMk/>
            <pc:sldMk cId="3777336187" sldId="2134803564"/>
            <ac:spMk id="8" creationId="{D915F22A-5942-4CC8-B2A8-72557910EAD0}"/>
          </ac:spMkLst>
        </pc:spChg>
        <pc:spChg chg="add del mod">
          <ac:chgData name="Pierre Cavaroc" userId="150eff99-6aed-48f0-b13c-cabd0a4b3ac2" providerId="ADAL" clId="{E623609C-0EF4-4ECB-A655-127E285B354B}" dt="2021-03-20T21:58:37.749" v="1389" actId="478"/>
          <ac:spMkLst>
            <pc:docMk/>
            <pc:sldMk cId="3777336187" sldId="2134803564"/>
            <ac:spMk id="11" creationId="{DAB4B8EA-CA90-444E-B071-F11F3E00A116}"/>
          </ac:spMkLst>
        </pc:spChg>
        <pc:spChg chg="add mod">
          <ac:chgData name="Pierre Cavaroc" userId="150eff99-6aed-48f0-b13c-cabd0a4b3ac2" providerId="ADAL" clId="{E623609C-0EF4-4ECB-A655-127E285B354B}" dt="2021-03-21T14:49:26.141" v="2246" actId="1035"/>
          <ac:spMkLst>
            <pc:docMk/>
            <pc:sldMk cId="3777336187" sldId="2134803564"/>
            <ac:spMk id="70" creationId="{ED5BA112-5158-41AF-B403-43251B9111EA}"/>
          </ac:spMkLst>
        </pc:spChg>
        <pc:spChg chg="add mod">
          <ac:chgData name="Pierre Cavaroc" userId="150eff99-6aed-48f0-b13c-cabd0a4b3ac2" providerId="ADAL" clId="{E623609C-0EF4-4ECB-A655-127E285B354B}" dt="2021-03-21T14:49:26.141" v="2246" actId="1035"/>
          <ac:spMkLst>
            <pc:docMk/>
            <pc:sldMk cId="3777336187" sldId="2134803564"/>
            <ac:spMk id="71" creationId="{9F0E6AA7-4897-477C-9B7B-B6315520645F}"/>
          </ac:spMkLst>
        </pc:spChg>
        <pc:spChg chg="add mod">
          <ac:chgData name="Pierre Cavaroc" userId="150eff99-6aed-48f0-b13c-cabd0a4b3ac2" providerId="ADAL" clId="{E623609C-0EF4-4ECB-A655-127E285B354B}" dt="2021-03-21T14:49:26.141" v="2246" actId="1035"/>
          <ac:spMkLst>
            <pc:docMk/>
            <pc:sldMk cId="3777336187" sldId="2134803564"/>
            <ac:spMk id="72" creationId="{FC660331-A024-44FE-8336-A7B8EB3BE8E7}"/>
          </ac:spMkLst>
        </pc:spChg>
        <pc:spChg chg="add mod">
          <ac:chgData name="Pierre Cavaroc" userId="150eff99-6aed-48f0-b13c-cabd0a4b3ac2" providerId="ADAL" clId="{E623609C-0EF4-4ECB-A655-127E285B354B}" dt="2021-03-21T14:49:26.141" v="2246" actId="1035"/>
          <ac:spMkLst>
            <pc:docMk/>
            <pc:sldMk cId="3777336187" sldId="2134803564"/>
            <ac:spMk id="81" creationId="{5B4D4BCD-EF3E-444E-9292-EE9E147F42BB}"/>
          </ac:spMkLst>
        </pc:spChg>
        <pc:spChg chg="add mod">
          <ac:chgData name="Pierre Cavaroc" userId="150eff99-6aed-48f0-b13c-cabd0a4b3ac2" providerId="ADAL" clId="{E623609C-0EF4-4ECB-A655-127E285B354B}" dt="2021-03-21T14:49:26.141" v="2246" actId="1035"/>
          <ac:spMkLst>
            <pc:docMk/>
            <pc:sldMk cId="3777336187" sldId="2134803564"/>
            <ac:spMk id="82" creationId="{8837D9EF-D778-4A5E-A9CD-AF6F8CBB7F43}"/>
          </ac:spMkLst>
        </pc:spChg>
        <pc:spChg chg="add del mod">
          <ac:chgData name="Pierre Cavaroc" userId="150eff99-6aed-48f0-b13c-cabd0a4b3ac2" providerId="ADAL" clId="{E623609C-0EF4-4ECB-A655-127E285B354B}" dt="2021-03-21T03:09:45.099" v="2043"/>
          <ac:spMkLst>
            <pc:docMk/>
            <pc:sldMk cId="3777336187" sldId="2134803564"/>
            <ac:spMk id="91" creationId="{BDDF92CE-108E-4389-B3E1-6C84807E4100}"/>
          </ac:spMkLst>
        </pc:spChg>
        <pc:spChg chg="add del mod">
          <ac:chgData name="Pierre Cavaroc" userId="150eff99-6aed-48f0-b13c-cabd0a4b3ac2" providerId="ADAL" clId="{E623609C-0EF4-4ECB-A655-127E285B354B}" dt="2021-03-21T03:09:45.099" v="2043"/>
          <ac:spMkLst>
            <pc:docMk/>
            <pc:sldMk cId="3777336187" sldId="2134803564"/>
            <ac:spMk id="92" creationId="{9E861145-E72C-4892-8DE6-B60116258D19}"/>
          </ac:spMkLst>
        </pc:spChg>
        <pc:spChg chg="add del mod">
          <ac:chgData name="Pierre Cavaroc" userId="150eff99-6aed-48f0-b13c-cabd0a4b3ac2" providerId="ADAL" clId="{E623609C-0EF4-4ECB-A655-127E285B354B}" dt="2021-03-21T03:09:51.520" v="2045"/>
          <ac:spMkLst>
            <pc:docMk/>
            <pc:sldMk cId="3777336187" sldId="2134803564"/>
            <ac:spMk id="100" creationId="{33C406D1-186D-404F-A5CF-0DAE76B42D23}"/>
          </ac:spMkLst>
        </pc:spChg>
        <pc:spChg chg="add del mod">
          <ac:chgData name="Pierre Cavaroc" userId="150eff99-6aed-48f0-b13c-cabd0a4b3ac2" providerId="ADAL" clId="{E623609C-0EF4-4ECB-A655-127E285B354B}" dt="2021-03-21T03:09:51.520" v="2045"/>
          <ac:spMkLst>
            <pc:docMk/>
            <pc:sldMk cId="3777336187" sldId="2134803564"/>
            <ac:spMk id="101" creationId="{FC87AD02-AE48-4D30-B973-D1AF3D483355}"/>
          </ac:spMkLst>
        </pc:spChg>
        <pc:spChg chg="mod">
          <ac:chgData name="Pierre Cavaroc" userId="150eff99-6aed-48f0-b13c-cabd0a4b3ac2" providerId="ADAL" clId="{E623609C-0EF4-4ECB-A655-127E285B354B}" dt="2021-03-21T14:49:26.141" v="2246" actId="1035"/>
          <ac:spMkLst>
            <pc:docMk/>
            <pc:sldMk cId="3777336187" sldId="2134803564"/>
            <ac:spMk id="110" creationId="{144174D8-AB87-44C8-ABE2-56DAEB90C5A6}"/>
          </ac:spMkLst>
        </pc:spChg>
        <pc:spChg chg="mod">
          <ac:chgData name="Pierre Cavaroc" userId="150eff99-6aed-48f0-b13c-cabd0a4b3ac2" providerId="ADAL" clId="{E623609C-0EF4-4ECB-A655-127E285B354B}" dt="2021-03-21T14:49:26.141" v="2246" actId="1035"/>
          <ac:spMkLst>
            <pc:docMk/>
            <pc:sldMk cId="3777336187" sldId="2134803564"/>
            <ac:spMk id="111" creationId="{9FD0A89E-1DA6-41ED-AF85-E61F4A0A75BE}"/>
          </ac:spMkLst>
        </pc:spChg>
        <pc:spChg chg="add mod">
          <ac:chgData name="Pierre Cavaroc" userId="150eff99-6aed-48f0-b13c-cabd0a4b3ac2" providerId="ADAL" clId="{E623609C-0EF4-4ECB-A655-127E285B354B}" dt="2021-03-21T14:49:26.141" v="2246" actId="1035"/>
          <ac:spMkLst>
            <pc:docMk/>
            <pc:sldMk cId="3777336187" sldId="2134803564"/>
            <ac:spMk id="112" creationId="{DF7B7B97-C9D3-40D4-862D-90D3F7CD400C}"/>
          </ac:spMkLst>
        </pc:spChg>
        <pc:spChg chg="mod">
          <ac:chgData name="Pierre Cavaroc" userId="150eff99-6aed-48f0-b13c-cabd0a4b3ac2" providerId="ADAL" clId="{E623609C-0EF4-4ECB-A655-127E285B354B}" dt="2021-03-21T14:49:26.141" v="2246" actId="1035"/>
          <ac:spMkLst>
            <pc:docMk/>
            <pc:sldMk cId="3777336187" sldId="2134803564"/>
            <ac:spMk id="121" creationId="{FA20CCD3-1814-4FF5-B46B-805C44D80C72}"/>
          </ac:spMkLst>
        </pc:spChg>
        <pc:spChg chg="mod">
          <ac:chgData name="Pierre Cavaroc" userId="150eff99-6aed-48f0-b13c-cabd0a4b3ac2" providerId="ADAL" clId="{E623609C-0EF4-4ECB-A655-127E285B354B}" dt="2021-03-21T14:49:26.141" v="2246" actId="1035"/>
          <ac:spMkLst>
            <pc:docMk/>
            <pc:sldMk cId="3777336187" sldId="2134803564"/>
            <ac:spMk id="122" creationId="{084E2ADF-6B65-4835-BF19-A9A04C879A29}"/>
          </ac:spMkLst>
        </pc:spChg>
        <pc:spChg chg="add mod">
          <ac:chgData name="Pierre Cavaroc" userId="150eff99-6aed-48f0-b13c-cabd0a4b3ac2" providerId="ADAL" clId="{E623609C-0EF4-4ECB-A655-127E285B354B}" dt="2021-03-21T14:49:26.141" v="2246" actId="1035"/>
          <ac:spMkLst>
            <pc:docMk/>
            <pc:sldMk cId="3777336187" sldId="2134803564"/>
            <ac:spMk id="123" creationId="{7955EF02-A229-49A8-AD9D-063745437307}"/>
          </ac:spMkLst>
        </pc:spChg>
        <pc:grpChg chg="add mod">
          <ac:chgData name="Pierre Cavaroc" userId="150eff99-6aed-48f0-b13c-cabd0a4b3ac2" providerId="ADAL" clId="{E623609C-0EF4-4ECB-A655-127E285B354B}" dt="2021-03-21T02:36:47.974" v="1873" actId="164"/>
          <ac:grpSpMkLst>
            <pc:docMk/>
            <pc:sldMk cId="3777336187" sldId="2134803564"/>
            <ac:grpSpMk id="69" creationId="{866FEF37-BBD1-486F-8E81-6B0B35A066DE}"/>
          </ac:grpSpMkLst>
        </pc:grpChg>
        <pc:grpChg chg="add mod">
          <ac:chgData name="Pierre Cavaroc" userId="150eff99-6aed-48f0-b13c-cabd0a4b3ac2" providerId="ADAL" clId="{E623609C-0EF4-4ECB-A655-127E285B354B}" dt="2021-03-21T02:52:26.486" v="1948" actId="164"/>
          <ac:grpSpMkLst>
            <pc:docMk/>
            <pc:sldMk cId="3777336187" sldId="2134803564"/>
            <ac:grpSpMk id="73" creationId="{AD2E0DA8-D7D3-4E42-A99C-C45B1917EB7A}"/>
          </ac:grpSpMkLst>
        </pc:grpChg>
        <pc:grpChg chg="add mod">
          <ac:chgData name="Pierre Cavaroc" userId="150eff99-6aed-48f0-b13c-cabd0a4b3ac2" providerId="ADAL" clId="{E623609C-0EF4-4ECB-A655-127E285B354B}" dt="2021-03-21T14:49:26.141" v="2246" actId="1035"/>
          <ac:grpSpMkLst>
            <pc:docMk/>
            <pc:sldMk cId="3777336187" sldId="2134803564"/>
            <ac:grpSpMk id="83" creationId="{22F687BF-5559-456E-A14F-EAF707327011}"/>
          </ac:grpSpMkLst>
        </pc:grpChg>
        <pc:grpChg chg="add mod">
          <ac:chgData name="Pierre Cavaroc" userId="150eff99-6aed-48f0-b13c-cabd0a4b3ac2" providerId="ADAL" clId="{E623609C-0EF4-4ECB-A655-127E285B354B}" dt="2021-03-21T14:49:26.141" v="2246" actId="1035"/>
          <ac:grpSpMkLst>
            <pc:docMk/>
            <pc:sldMk cId="3777336187" sldId="2134803564"/>
            <ac:grpSpMk id="102" creationId="{FD0F7DF2-A11D-4193-9926-EAC0C91A9723}"/>
          </ac:grpSpMkLst>
        </pc:grpChg>
        <pc:grpChg chg="add mod">
          <ac:chgData name="Pierre Cavaroc" userId="150eff99-6aed-48f0-b13c-cabd0a4b3ac2" providerId="ADAL" clId="{E623609C-0EF4-4ECB-A655-127E285B354B}" dt="2021-03-21T14:49:26.141" v="2246" actId="1035"/>
          <ac:grpSpMkLst>
            <pc:docMk/>
            <pc:sldMk cId="3777336187" sldId="2134803564"/>
            <ac:grpSpMk id="113" creationId="{85117123-D19B-40E5-AE6A-17BD84115498}"/>
          </ac:grpSpMkLst>
        </pc:grpChg>
        <pc:graphicFrameChg chg="add del mod ord modGraphic">
          <ac:chgData name="Pierre Cavaroc" userId="150eff99-6aed-48f0-b13c-cabd0a4b3ac2" providerId="ADAL" clId="{E623609C-0EF4-4ECB-A655-127E285B354B}" dt="2021-03-20T21:54:49.720" v="1388" actId="478"/>
          <ac:graphicFrameMkLst>
            <pc:docMk/>
            <pc:sldMk cId="3777336187" sldId="2134803564"/>
            <ac:graphicFrameMk id="9" creationId="{9E0C1AB2-075F-4E33-AE18-5F68BBA37808}"/>
          </ac:graphicFrameMkLst>
        </pc:graphicFrameChg>
        <pc:picChg chg="add del mod">
          <ac:chgData name="Pierre Cavaroc" userId="150eff99-6aed-48f0-b13c-cabd0a4b3ac2" providerId="ADAL" clId="{E623609C-0EF4-4ECB-A655-127E285B354B}" dt="2021-03-21T01:54:48.440" v="1422" actId="478"/>
          <ac:picMkLst>
            <pc:docMk/>
            <pc:sldMk cId="3777336187" sldId="2134803564"/>
            <ac:picMk id="13" creationId="{4D765FB3-5BE7-461B-ABE5-912CC6FC3C1F}"/>
          </ac:picMkLst>
        </pc:picChg>
        <pc:picChg chg="add del mod">
          <ac:chgData name="Pierre Cavaroc" userId="150eff99-6aed-48f0-b13c-cabd0a4b3ac2" providerId="ADAL" clId="{E623609C-0EF4-4ECB-A655-127E285B354B}" dt="2021-03-21T01:54:48.440" v="1422" actId="478"/>
          <ac:picMkLst>
            <pc:docMk/>
            <pc:sldMk cId="3777336187" sldId="2134803564"/>
            <ac:picMk id="15" creationId="{36F989B4-EE39-4C99-B043-6264DF323901}"/>
          </ac:picMkLst>
        </pc:picChg>
        <pc:picChg chg="add del mod">
          <ac:chgData name="Pierre Cavaroc" userId="150eff99-6aed-48f0-b13c-cabd0a4b3ac2" providerId="ADAL" clId="{E623609C-0EF4-4ECB-A655-127E285B354B}" dt="2021-03-21T02:11:39.718" v="1561" actId="478"/>
          <ac:picMkLst>
            <pc:docMk/>
            <pc:sldMk cId="3777336187" sldId="2134803564"/>
            <ac:picMk id="17" creationId="{F7B78BE8-F05B-4E90-A9BA-281A1702E8A6}"/>
          </ac:picMkLst>
        </pc:picChg>
        <pc:picChg chg="add del mod">
          <ac:chgData name="Pierre Cavaroc" userId="150eff99-6aed-48f0-b13c-cabd0a4b3ac2" providerId="ADAL" clId="{E623609C-0EF4-4ECB-A655-127E285B354B}" dt="2021-03-21T02:06:24.200" v="1512" actId="478"/>
          <ac:picMkLst>
            <pc:docMk/>
            <pc:sldMk cId="3777336187" sldId="2134803564"/>
            <ac:picMk id="19" creationId="{AA7995EC-5BEF-49BD-BD94-1717CFBB7397}"/>
          </ac:picMkLst>
        </pc:picChg>
        <pc:picChg chg="add del mod">
          <ac:chgData name="Pierre Cavaroc" userId="150eff99-6aed-48f0-b13c-cabd0a4b3ac2" providerId="ADAL" clId="{E623609C-0EF4-4ECB-A655-127E285B354B}" dt="2021-03-21T02:07:55.390" v="1515" actId="478"/>
          <ac:picMkLst>
            <pc:docMk/>
            <pc:sldMk cId="3777336187" sldId="2134803564"/>
            <ac:picMk id="21" creationId="{D582E5D6-8C25-424C-A169-8EBDEA504D22}"/>
          </ac:picMkLst>
        </pc:picChg>
        <pc:picChg chg="add del mod">
          <ac:chgData name="Pierre Cavaroc" userId="150eff99-6aed-48f0-b13c-cabd0a4b3ac2" providerId="ADAL" clId="{E623609C-0EF4-4ECB-A655-127E285B354B}" dt="2021-03-21T02:11:28.854" v="1555" actId="478"/>
          <ac:picMkLst>
            <pc:docMk/>
            <pc:sldMk cId="3777336187" sldId="2134803564"/>
            <ac:picMk id="23" creationId="{34C3AA72-7AB0-4199-B435-8D4C4C1C38B6}"/>
          </ac:picMkLst>
        </pc:picChg>
        <pc:picChg chg="add mod">
          <ac:chgData name="Pierre Cavaroc" userId="150eff99-6aed-48f0-b13c-cabd0a4b3ac2" providerId="ADAL" clId="{E623609C-0EF4-4ECB-A655-127E285B354B}" dt="2021-03-21T14:49:26.141" v="2246" actId="1035"/>
          <ac:picMkLst>
            <pc:docMk/>
            <pc:sldMk cId="3777336187" sldId="2134803564"/>
            <ac:picMk id="25" creationId="{C5F261E9-66E4-4E7E-B4FA-AD55E177C691}"/>
          </ac:picMkLst>
        </pc:picChg>
        <pc:picChg chg="add mod">
          <ac:chgData name="Pierre Cavaroc" userId="150eff99-6aed-48f0-b13c-cabd0a4b3ac2" providerId="ADAL" clId="{E623609C-0EF4-4ECB-A655-127E285B354B}" dt="2021-03-21T14:49:26.141" v="2246" actId="1035"/>
          <ac:picMkLst>
            <pc:docMk/>
            <pc:sldMk cId="3777336187" sldId="2134803564"/>
            <ac:picMk id="27" creationId="{7C1CCB90-BB1C-4B29-8C28-54EB62852BBC}"/>
          </ac:picMkLst>
        </pc:picChg>
        <pc:picChg chg="add mod">
          <ac:chgData name="Pierre Cavaroc" userId="150eff99-6aed-48f0-b13c-cabd0a4b3ac2" providerId="ADAL" clId="{E623609C-0EF4-4ECB-A655-127E285B354B}" dt="2021-03-21T14:49:26.141" v="2246" actId="1035"/>
          <ac:picMkLst>
            <pc:docMk/>
            <pc:sldMk cId="3777336187" sldId="2134803564"/>
            <ac:picMk id="29" creationId="{94F86EFD-95F4-4C61-A103-A6BF729966D8}"/>
          </ac:picMkLst>
        </pc:picChg>
        <pc:picChg chg="add del mod">
          <ac:chgData name="Pierre Cavaroc" userId="150eff99-6aed-48f0-b13c-cabd0a4b3ac2" providerId="ADAL" clId="{E623609C-0EF4-4ECB-A655-127E285B354B}" dt="2021-03-21T02:08:40.293" v="1524" actId="478"/>
          <ac:picMkLst>
            <pc:docMk/>
            <pc:sldMk cId="3777336187" sldId="2134803564"/>
            <ac:picMk id="31" creationId="{88903FF1-9738-4497-95E8-CE2FA9A38E03}"/>
          </ac:picMkLst>
        </pc:picChg>
        <pc:picChg chg="add del mod">
          <ac:chgData name="Pierre Cavaroc" userId="150eff99-6aed-48f0-b13c-cabd0a4b3ac2" providerId="ADAL" clId="{E623609C-0EF4-4ECB-A655-127E285B354B}" dt="2021-03-21T02:08:52.342" v="1528" actId="478"/>
          <ac:picMkLst>
            <pc:docMk/>
            <pc:sldMk cId="3777336187" sldId="2134803564"/>
            <ac:picMk id="33" creationId="{E0640FB2-52C7-4ABE-A705-0EB3181017ED}"/>
          </ac:picMkLst>
        </pc:picChg>
        <pc:picChg chg="add del mod">
          <ac:chgData name="Pierre Cavaroc" userId="150eff99-6aed-48f0-b13c-cabd0a4b3ac2" providerId="ADAL" clId="{E623609C-0EF4-4ECB-A655-127E285B354B}" dt="2021-03-21T02:09:07.319" v="1531" actId="478"/>
          <ac:picMkLst>
            <pc:docMk/>
            <pc:sldMk cId="3777336187" sldId="2134803564"/>
            <ac:picMk id="35" creationId="{00C98CDA-C5E3-4AB1-BA3C-E16533245FC1}"/>
          </ac:picMkLst>
        </pc:picChg>
        <pc:picChg chg="add del mod">
          <ac:chgData name="Pierre Cavaroc" userId="150eff99-6aed-48f0-b13c-cabd0a4b3ac2" providerId="ADAL" clId="{E623609C-0EF4-4ECB-A655-127E285B354B}" dt="2021-03-21T02:09:14.302" v="1534" actId="478"/>
          <ac:picMkLst>
            <pc:docMk/>
            <pc:sldMk cId="3777336187" sldId="2134803564"/>
            <ac:picMk id="37" creationId="{4257B162-18BE-404E-AD80-4E8ADCB96544}"/>
          </ac:picMkLst>
        </pc:picChg>
        <pc:picChg chg="add del mod">
          <ac:chgData name="Pierre Cavaroc" userId="150eff99-6aed-48f0-b13c-cabd0a4b3ac2" providerId="ADAL" clId="{E623609C-0EF4-4ECB-A655-127E285B354B}" dt="2021-03-21T02:09:37.166" v="1537" actId="478"/>
          <ac:picMkLst>
            <pc:docMk/>
            <pc:sldMk cId="3777336187" sldId="2134803564"/>
            <ac:picMk id="39" creationId="{582E4259-056F-423A-BEF7-8D5AB216F69E}"/>
          </ac:picMkLst>
        </pc:picChg>
        <pc:picChg chg="add del mod">
          <ac:chgData name="Pierre Cavaroc" userId="150eff99-6aed-48f0-b13c-cabd0a4b3ac2" providerId="ADAL" clId="{E623609C-0EF4-4ECB-A655-127E285B354B}" dt="2021-03-21T02:10:02.143" v="1544" actId="478"/>
          <ac:picMkLst>
            <pc:docMk/>
            <pc:sldMk cId="3777336187" sldId="2134803564"/>
            <ac:picMk id="41" creationId="{3DBB104E-9F6C-41D5-A09F-1786183F6376}"/>
          </ac:picMkLst>
        </pc:picChg>
        <pc:picChg chg="add mod">
          <ac:chgData name="Pierre Cavaroc" userId="150eff99-6aed-48f0-b13c-cabd0a4b3ac2" providerId="ADAL" clId="{E623609C-0EF4-4ECB-A655-127E285B354B}" dt="2021-03-21T14:49:26.141" v="2246" actId="1035"/>
          <ac:picMkLst>
            <pc:docMk/>
            <pc:sldMk cId="3777336187" sldId="2134803564"/>
            <ac:picMk id="43" creationId="{B0578D10-33F3-46ED-AABD-983DB7625086}"/>
          </ac:picMkLst>
        </pc:picChg>
        <pc:picChg chg="add del mod">
          <ac:chgData name="Pierre Cavaroc" userId="150eff99-6aed-48f0-b13c-cabd0a4b3ac2" providerId="ADAL" clId="{E623609C-0EF4-4ECB-A655-127E285B354B}" dt="2021-03-21T02:10:36.853" v="1547" actId="478"/>
          <ac:picMkLst>
            <pc:docMk/>
            <pc:sldMk cId="3777336187" sldId="2134803564"/>
            <ac:picMk id="45" creationId="{C61E64CB-76DD-42AE-A903-2BF15A0624BE}"/>
          </ac:picMkLst>
        </pc:picChg>
        <pc:picChg chg="add del mod">
          <ac:chgData name="Pierre Cavaroc" userId="150eff99-6aed-48f0-b13c-cabd0a4b3ac2" providerId="ADAL" clId="{E623609C-0EF4-4ECB-A655-127E285B354B}" dt="2021-03-21T02:10:59.671" v="1551" actId="478"/>
          <ac:picMkLst>
            <pc:docMk/>
            <pc:sldMk cId="3777336187" sldId="2134803564"/>
            <ac:picMk id="47" creationId="{F15AF9A4-6025-433E-A459-FE53AB222105}"/>
          </ac:picMkLst>
        </pc:picChg>
        <pc:picChg chg="add mod">
          <ac:chgData name="Pierre Cavaroc" userId="150eff99-6aed-48f0-b13c-cabd0a4b3ac2" providerId="ADAL" clId="{E623609C-0EF4-4ECB-A655-127E285B354B}" dt="2021-03-21T14:49:26.141" v="2246" actId="1035"/>
          <ac:picMkLst>
            <pc:docMk/>
            <pc:sldMk cId="3777336187" sldId="2134803564"/>
            <ac:picMk id="49" creationId="{49A3272D-9A5D-4847-9097-50337BFF02FB}"/>
          </ac:picMkLst>
        </pc:picChg>
        <pc:picChg chg="add del mod">
          <ac:chgData name="Pierre Cavaroc" userId="150eff99-6aed-48f0-b13c-cabd0a4b3ac2" providerId="ADAL" clId="{E623609C-0EF4-4ECB-A655-127E285B354B}" dt="2021-03-21T02:11:33.118" v="1557" actId="478"/>
          <ac:picMkLst>
            <pc:docMk/>
            <pc:sldMk cId="3777336187" sldId="2134803564"/>
            <ac:picMk id="51" creationId="{1884A5A4-FE58-41F7-BB6A-2C1CCEDE8270}"/>
          </ac:picMkLst>
        </pc:picChg>
        <pc:picChg chg="add mod">
          <ac:chgData name="Pierre Cavaroc" userId="150eff99-6aed-48f0-b13c-cabd0a4b3ac2" providerId="ADAL" clId="{E623609C-0EF4-4ECB-A655-127E285B354B}" dt="2021-03-21T14:49:26.141" v="2246" actId="1035"/>
          <ac:picMkLst>
            <pc:docMk/>
            <pc:sldMk cId="3777336187" sldId="2134803564"/>
            <ac:picMk id="53" creationId="{629C8347-8192-41DC-BF0C-1C9D28319F60}"/>
          </ac:picMkLst>
        </pc:picChg>
        <pc:picChg chg="add del mod">
          <ac:chgData name="Pierre Cavaroc" userId="150eff99-6aed-48f0-b13c-cabd0a4b3ac2" providerId="ADAL" clId="{E623609C-0EF4-4ECB-A655-127E285B354B}" dt="2021-03-21T02:11:55.461" v="1566" actId="478"/>
          <ac:picMkLst>
            <pc:docMk/>
            <pc:sldMk cId="3777336187" sldId="2134803564"/>
            <ac:picMk id="55" creationId="{BDED3A33-3EB9-44B0-838C-EB91573BEE8F}"/>
          </ac:picMkLst>
        </pc:picChg>
        <pc:picChg chg="add mod">
          <ac:chgData name="Pierre Cavaroc" userId="150eff99-6aed-48f0-b13c-cabd0a4b3ac2" providerId="ADAL" clId="{E623609C-0EF4-4ECB-A655-127E285B354B}" dt="2021-03-21T14:49:26.141" v="2246" actId="1035"/>
          <ac:picMkLst>
            <pc:docMk/>
            <pc:sldMk cId="3777336187" sldId="2134803564"/>
            <ac:picMk id="57" creationId="{3CEFC1E0-B5CD-423C-AC00-C535844165D3}"/>
          </ac:picMkLst>
        </pc:picChg>
        <pc:picChg chg="add del mod">
          <ac:chgData name="Pierre Cavaroc" userId="150eff99-6aed-48f0-b13c-cabd0a4b3ac2" providerId="ADAL" clId="{E623609C-0EF4-4ECB-A655-127E285B354B}" dt="2021-03-21T02:13:52.125" v="1677" actId="478"/>
          <ac:picMkLst>
            <pc:docMk/>
            <pc:sldMk cId="3777336187" sldId="2134803564"/>
            <ac:picMk id="59" creationId="{5FAA92EF-F373-4F70-BE59-BB8680DDCFD1}"/>
          </ac:picMkLst>
        </pc:picChg>
        <pc:picChg chg="add del mod">
          <ac:chgData name="Pierre Cavaroc" userId="150eff99-6aed-48f0-b13c-cabd0a4b3ac2" providerId="ADAL" clId="{E623609C-0EF4-4ECB-A655-127E285B354B}" dt="2021-03-21T02:14:21.582" v="1705" actId="478"/>
          <ac:picMkLst>
            <pc:docMk/>
            <pc:sldMk cId="3777336187" sldId="2134803564"/>
            <ac:picMk id="61" creationId="{D18A39AB-7DB4-4FA9-B982-5B0C90141AB6}"/>
          </ac:picMkLst>
        </pc:picChg>
        <pc:picChg chg="add del mod">
          <ac:chgData name="Pierre Cavaroc" userId="150eff99-6aed-48f0-b13c-cabd0a4b3ac2" providerId="ADAL" clId="{E623609C-0EF4-4ECB-A655-127E285B354B}" dt="2021-03-21T02:14:54.445" v="1707" actId="478"/>
          <ac:picMkLst>
            <pc:docMk/>
            <pc:sldMk cId="3777336187" sldId="2134803564"/>
            <ac:picMk id="63" creationId="{40DFC9A3-94D7-486D-9B9E-E74F0BDB3F1A}"/>
          </ac:picMkLst>
        </pc:picChg>
        <pc:picChg chg="add del mod">
          <ac:chgData name="Pierre Cavaroc" userId="150eff99-6aed-48f0-b13c-cabd0a4b3ac2" providerId="ADAL" clId="{E623609C-0EF4-4ECB-A655-127E285B354B}" dt="2021-03-21T02:15:17.269" v="1709" actId="478"/>
          <ac:picMkLst>
            <pc:docMk/>
            <pc:sldMk cId="3777336187" sldId="2134803564"/>
            <ac:picMk id="65" creationId="{24B64BBA-9317-47C5-8BDC-37F7C9CE94F2}"/>
          </ac:picMkLst>
        </pc:picChg>
        <pc:picChg chg="add del mod">
          <ac:chgData name="Pierre Cavaroc" userId="150eff99-6aed-48f0-b13c-cabd0a4b3ac2" providerId="ADAL" clId="{E623609C-0EF4-4ECB-A655-127E285B354B}" dt="2021-03-21T02:15:49.358" v="1711" actId="478"/>
          <ac:picMkLst>
            <pc:docMk/>
            <pc:sldMk cId="3777336187" sldId="2134803564"/>
            <ac:picMk id="67" creationId="{5D92865B-6641-403E-9A80-1E2ADF8C76E7}"/>
          </ac:picMkLst>
        </pc:picChg>
        <pc:picChg chg="add mod">
          <ac:chgData name="Pierre Cavaroc" userId="150eff99-6aed-48f0-b13c-cabd0a4b3ac2" providerId="ADAL" clId="{E623609C-0EF4-4ECB-A655-127E285B354B}" dt="2021-03-21T02:34:39.337" v="1858" actId="571"/>
          <ac:picMkLst>
            <pc:docMk/>
            <pc:sldMk cId="3777336187" sldId="2134803564"/>
            <ac:picMk id="68" creationId="{CC01BDCF-5642-4593-B413-B73DA495FC79}"/>
          </ac:picMkLst>
        </pc:picChg>
        <pc:picChg chg="add mod">
          <ac:chgData name="Pierre Cavaroc" userId="150eff99-6aed-48f0-b13c-cabd0a4b3ac2" providerId="ADAL" clId="{E623609C-0EF4-4ECB-A655-127E285B354B}" dt="2021-03-21T14:49:26.141" v="2246" actId="1035"/>
          <ac:picMkLst>
            <pc:docMk/>
            <pc:sldMk cId="3777336187" sldId="2134803564"/>
            <ac:picMk id="74" creationId="{F71C32F1-330D-4669-A3C5-A3773AF27A64}"/>
          </ac:picMkLst>
        </pc:picChg>
        <pc:picChg chg="add mod">
          <ac:chgData name="Pierre Cavaroc" userId="150eff99-6aed-48f0-b13c-cabd0a4b3ac2" providerId="ADAL" clId="{E623609C-0EF4-4ECB-A655-127E285B354B}" dt="2021-03-21T14:49:26.141" v="2246" actId="1035"/>
          <ac:picMkLst>
            <pc:docMk/>
            <pc:sldMk cId="3777336187" sldId="2134803564"/>
            <ac:picMk id="75" creationId="{33CEEA4C-FF14-4E69-AC46-F7254C0919D2}"/>
          </ac:picMkLst>
        </pc:picChg>
        <pc:picChg chg="add mod">
          <ac:chgData name="Pierre Cavaroc" userId="150eff99-6aed-48f0-b13c-cabd0a4b3ac2" providerId="ADAL" clId="{E623609C-0EF4-4ECB-A655-127E285B354B}" dt="2021-03-21T14:49:26.141" v="2246" actId="1035"/>
          <ac:picMkLst>
            <pc:docMk/>
            <pc:sldMk cId="3777336187" sldId="2134803564"/>
            <ac:picMk id="76" creationId="{9848C28C-2B23-49D0-8A10-A9CF58BBD456}"/>
          </ac:picMkLst>
        </pc:picChg>
        <pc:picChg chg="add mod">
          <ac:chgData name="Pierre Cavaroc" userId="150eff99-6aed-48f0-b13c-cabd0a4b3ac2" providerId="ADAL" clId="{E623609C-0EF4-4ECB-A655-127E285B354B}" dt="2021-03-21T14:49:26.141" v="2246" actId="1035"/>
          <ac:picMkLst>
            <pc:docMk/>
            <pc:sldMk cId="3777336187" sldId="2134803564"/>
            <ac:picMk id="77" creationId="{10D0D486-D072-4745-B6AD-49FCC8998DCA}"/>
          </ac:picMkLst>
        </pc:picChg>
        <pc:picChg chg="add mod">
          <ac:chgData name="Pierre Cavaroc" userId="150eff99-6aed-48f0-b13c-cabd0a4b3ac2" providerId="ADAL" clId="{E623609C-0EF4-4ECB-A655-127E285B354B}" dt="2021-03-21T14:49:26.141" v="2246" actId="1035"/>
          <ac:picMkLst>
            <pc:docMk/>
            <pc:sldMk cId="3777336187" sldId="2134803564"/>
            <ac:picMk id="78" creationId="{DE693DC7-D445-42F1-A83A-81FA3365D3ED}"/>
          </ac:picMkLst>
        </pc:picChg>
        <pc:picChg chg="add mod">
          <ac:chgData name="Pierre Cavaroc" userId="150eff99-6aed-48f0-b13c-cabd0a4b3ac2" providerId="ADAL" clId="{E623609C-0EF4-4ECB-A655-127E285B354B}" dt="2021-03-21T14:49:26.141" v="2246" actId="1035"/>
          <ac:picMkLst>
            <pc:docMk/>
            <pc:sldMk cId="3777336187" sldId="2134803564"/>
            <ac:picMk id="79" creationId="{A32FE88A-6D67-4E39-8B90-88944E4F74BC}"/>
          </ac:picMkLst>
        </pc:picChg>
        <pc:picChg chg="add mod">
          <ac:chgData name="Pierre Cavaroc" userId="150eff99-6aed-48f0-b13c-cabd0a4b3ac2" providerId="ADAL" clId="{E623609C-0EF4-4ECB-A655-127E285B354B}" dt="2021-03-21T14:49:26.141" v="2246" actId="1035"/>
          <ac:picMkLst>
            <pc:docMk/>
            <pc:sldMk cId="3777336187" sldId="2134803564"/>
            <ac:picMk id="80" creationId="{E8B81BC5-D781-4F43-B24D-D4A26DA8343D}"/>
          </ac:picMkLst>
        </pc:picChg>
        <pc:picChg chg="add del mod">
          <ac:chgData name="Pierre Cavaroc" userId="150eff99-6aed-48f0-b13c-cabd0a4b3ac2" providerId="ADAL" clId="{E623609C-0EF4-4ECB-A655-127E285B354B}" dt="2021-03-21T03:09:45.099" v="2043"/>
          <ac:picMkLst>
            <pc:docMk/>
            <pc:sldMk cId="3777336187" sldId="2134803564"/>
            <ac:picMk id="84" creationId="{EF57361A-2C3B-45BC-B9DC-2983BB952155}"/>
          </ac:picMkLst>
        </pc:picChg>
        <pc:picChg chg="add del mod">
          <ac:chgData name="Pierre Cavaroc" userId="150eff99-6aed-48f0-b13c-cabd0a4b3ac2" providerId="ADAL" clId="{E623609C-0EF4-4ECB-A655-127E285B354B}" dt="2021-03-21T03:09:45.099" v="2043"/>
          <ac:picMkLst>
            <pc:docMk/>
            <pc:sldMk cId="3777336187" sldId="2134803564"/>
            <ac:picMk id="85" creationId="{C408341D-E2C4-44AE-8AB8-E5E9B7E62323}"/>
          </ac:picMkLst>
        </pc:picChg>
        <pc:picChg chg="add del mod">
          <ac:chgData name="Pierre Cavaroc" userId="150eff99-6aed-48f0-b13c-cabd0a4b3ac2" providerId="ADAL" clId="{E623609C-0EF4-4ECB-A655-127E285B354B}" dt="2021-03-21T03:09:45.099" v="2043"/>
          <ac:picMkLst>
            <pc:docMk/>
            <pc:sldMk cId="3777336187" sldId="2134803564"/>
            <ac:picMk id="86" creationId="{57FD4F57-1241-4932-A4BA-ECC686CBEFAC}"/>
          </ac:picMkLst>
        </pc:picChg>
        <pc:picChg chg="add del mod">
          <ac:chgData name="Pierre Cavaroc" userId="150eff99-6aed-48f0-b13c-cabd0a4b3ac2" providerId="ADAL" clId="{E623609C-0EF4-4ECB-A655-127E285B354B}" dt="2021-03-21T03:09:45.099" v="2043"/>
          <ac:picMkLst>
            <pc:docMk/>
            <pc:sldMk cId="3777336187" sldId="2134803564"/>
            <ac:picMk id="87" creationId="{DFCDE2A9-5249-4577-8620-B44C4141C9C3}"/>
          </ac:picMkLst>
        </pc:picChg>
        <pc:picChg chg="add del mod">
          <ac:chgData name="Pierre Cavaroc" userId="150eff99-6aed-48f0-b13c-cabd0a4b3ac2" providerId="ADAL" clId="{E623609C-0EF4-4ECB-A655-127E285B354B}" dt="2021-03-21T03:09:45.099" v="2043"/>
          <ac:picMkLst>
            <pc:docMk/>
            <pc:sldMk cId="3777336187" sldId="2134803564"/>
            <ac:picMk id="88" creationId="{9E0D4C20-6999-4A59-B5D2-28F9E2B458D2}"/>
          </ac:picMkLst>
        </pc:picChg>
        <pc:picChg chg="add del mod">
          <ac:chgData name="Pierre Cavaroc" userId="150eff99-6aed-48f0-b13c-cabd0a4b3ac2" providerId="ADAL" clId="{E623609C-0EF4-4ECB-A655-127E285B354B}" dt="2021-03-21T03:09:45.099" v="2043"/>
          <ac:picMkLst>
            <pc:docMk/>
            <pc:sldMk cId="3777336187" sldId="2134803564"/>
            <ac:picMk id="89" creationId="{0B47BBCD-2ABC-4954-8B23-F3FB89D19704}"/>
          </ac:picMkLst>
        </pc:picChg>
        <pc:picChg chg="add del mod">
          <ac:chgData name="Pierre Cavaroc" userId="150eff99-6aed-48f0-b13c-cabd0a4b3ac2" providerId="ADAL" clId="{E623609C-0EF4-4ECB-A655-127E285B354B}" dt="2021-03-21T03:09:45.099" v="2043"/>
          <ac:picMkLst>
            <pc:docMk/>
            <pc:sldMk cId="3777336187" sldId="2134803564"/>
            <ac:picMk id="90" creationId="{E593BB04-AFC0-4A21-A101-0FAA0B10D5DC}"/>
          </ac:picMkLst>
        </pc:picChg>
        <pc:picChg chg="add del mod">
          <ac:chgData name="Pierre Cavaroc" userId="150eff99-6aed-48f0-b13c-cabd0a4b3ac2" providerId="ADAL" clId="{E623609C-0EF4-4ECB-A655-127E285B354B}" dt="2021-03-21T03:09:51.520" v="2045"/>
          <ac:picMkLst>
            <pc:docMk/>
            <pc:sldMk cId="3777336187" sldId="2134803564"/>
            <ac:picMk id="93" creationId="{A60902A2-7176-451A-92E5-7F7F19575DE2}"/>
          </ac:picMkLst>
        </pc:picChg>
        <pc:picChg chg="add del mod">
          <ac:chgData name="Pierre Cavaroc" userId="150eff99-6aed-48f0-b13c-cabd0a4b3ac2" providerId="ADAL" clId="{E623609C-0EF4-4ECB-A655-127E285B354B}" dt="2021-03-21T03:09:51.520" v="2045"/>
          <ac:picMkLst>
            <pc:docMk/>
            <pc:sldMk cId="3777336187" sldId="2134803564"/>
            <ac:picMk id="94" creationId="{652C4026-476B-4695-A514-4A22E8BB3710}"/>
          </ac:picMkLst>
        </pc:picChg>
        <pc:picChg chg="add del mod">
          <ac:chgData name="Pierre Cavaroc" userId="150eff99-6aed-48f0-b13c-cabd0a4b3ac2" providerId="ADAL" clId="{E623609C-0EF4-4ECB-A655-127E285B354B}" dt="2021-03-21T03:09:51.520" v="2045"/>
          <ac:picMkLst>
            <pc:docMk/>
            <pc:sldMk cId="3777336187" sldId="2134803564"/>
            <ac:picMk id="95" creationId="{A64F3CC2-3C57-4755-83C3-3C624A77A530}"/>
          </ac:picMkLst>
        </pc:picChg>
        <pc:picChg chg="add del mod">
          <ac:chgData name="Pierre Cavaroc" userId="150eff99-6aed-48f0-b13c-cabd0a4b3ac2" providerId="ADAL" clId="{E623609C-0EF4-4ECB-A655-127E285B354B}" dt="2021-03-21T03:09:51.520" v="2045"/>
          <ac:picMkLst>
            <pc:docMk/>
            <pc:sldMk cId="3777336187" sldId="2134803564"/>
            <ac:picMk id="96" creationId="{2E85F79D-FC0E-4639-B134-7CC5A4ED63FD}"/>
          </ac:picMkLst>
        </pc:picChg>
        <pc:picChg chg="add del mod">
          <ac:chgData name="Pierre Cavaroc" userId="150eff99-6aed-48f0-b13c-cabd0a4b3ac2" providerId="ADAL" clId="{E623609C-0EF4-4ECB-A655-127E285B354B}" dt="2021-03-21T03:09:51.520" v="2045"/>
          <ac:picMkLst>
            <pc:docMk/>
            <pc:sldMk cId="3777336187" sldId="2134803564"/>
            <ac:picMk id="97" creationId="{39D37EC5-377A-436C-8D98-C78609189EAA}"/>
          </ac:picMkLst>
        </pc:picChg>
        <pc:picChg chg="add del mod">
          <ac:chgData name="Pierre Cavaroc" userId="150eff99-6aed-48f0-b13c-cabd0a4b3ac2" providerId="ADAL" clId="{E623609C-0EF4-4ECB-A655-127E285B354B}" dt="2021-03-21T03:09:51.520" v="2045"/>
          <ac:picMkLst>
            <pc:docMk/>
            <pc:sldMk cId="3777336187" sldId="2134803564"/>
            <ac:picMk id="98" creationId="{6AD006D7-5550-4D93-BBD0-C0EDAC416068}"/>
          </ac:picMkLst>
        </pc:picChg>
        <pc:picChg chg="add del mod">
          <ac:chgData name="Pierre Cavaroc" userId="150eff99-6aed-48f0-b13c-cabd0a4b3ac2" providerId="ADAL" clId="{E623609C-0EF4-4ECB-A655-127E285B354B}" dt="2021-03-21T03:09:51.520" v="2045"/>
          <ac:picMkLst>
            <pc:docMk/>
            <pc:sldMk cId="3777336187" sldId="2134803564"/>
            <ac:picMk id="99" creationId="{F8D2B0E1-A025-49C4-A5A7-86FDED9CCA51}"/>
          </ac:picMkLst>
        </pc:picChg>
        <pc:picChg chg="mod">
          <ac:chgData name="Pierre Cavaroc" userId="150eff99-6aed-48f0-b13c-cabd0a4b3ac2" providerId="ADAL" clId="{E623609C-0EF4-4ECB-A655-127E285B354B}" dt="2021-03-21T14:49:26.141" v="2246" actId="1035"/>
          <ac:picMkLst>
            <pc:docMk/>
            <pc:sldMk cId="3777336187" sldId="2134803564"/>
            <ac:picMk id="103" creationId="{8B5BB666-1E6F-4BF4-8FA1-EE15BF5196D1}"/>
          </ac:picMkLst>
        </pc:picChg>
        <pc:picChg chg="mod">
          <ac:chgData name="Pierre Cavaroc" userId="150eff99-6aed-48f0-b13c-cabd0a4b3ac2" providerId="ADAL" clId="{E623609C-0EF4-4ECB-A655-127E285B354B}" dt="2021-03-21T14:49:26.141" v="2246" actId="1035"/>
          <ac:picMkLst>
            <pc:docMk/>
            <pc:sldMk cId="3777336187" sldId="2134803564"/>
            <ac:picMk id="104" creationId="{7AEDE537-F6F4-47CD-ADA7-A1FEABCA3803}"/>
          </ac:picMkLst>
        </pc:picChg>
        <pc:picChg chg="mod">
          <ac:chgData name="Pierre Cavaroc" userId="150eff99-6aed-48f0-b13c-cabd0a4b3ac2" providerId="ADAL" clId="{E623609C-0EF4-4ECB-A655-127E285B354B}" dt="2021-03-21T14:49:26.141" v="2246" actId="1035"/>
          <ac:picMkLst>
            <pc:docMk/>
            <pc:sldMk cId="3777336187" sldId="2134803564"/>
            <ac:picMk id="105" creationId="{2B840043-1975-4B53-82CE-1EF5A18F07AC}"/>
          </ac:picMkLst>
        </pc:picChg>
        <pc:picChg chg="mod">
          <ac:chgData name="Pierre Cavaroc" userId="150eff99-6aed-48f0-b13c-cabd0a4b3ac2" providerId="ADAL" clId="{E623609C-0EF4-4ECB-A655-127E285B354B}" dt="2021-03-21T14:49:26.141" v="2246" actId="1035"/>
          <ac:picMkLst>
            <pc:docMk/>
            <pc:sldMk cId="3777336187" sldId="2134803564"/>
            <ac:picMk id="106" creationId="{C667CA02-563A-4230-BC85-6010C983E80D}"/>
          </ac:picMkLst>
        </pc:picChg>
        <pc:picChg chg="mod">
          <ac:chgData name="Pierre Cavaroc" userId="150eff99-6aed-48f0-b13c-cabd0a4b3ac2" providerId="ADAL" clId="{E623609C-0EF4-4ECB-A655-127E285B354B}" dt="2021-03-21T14:49:26.141" v="2246" actId="1035"/>
          <ac:picMkLst>
            <pc:docMk/>
            <pc:sldMk cId="3777336187" sldId="2134803564"/>
            <ac:picMk id="107" creationId="{682A2BA2-93E1-41C3-ABBC-84061F3B5F1C}"/>
          </ac:picMkLst>
        </pc:picChg>
        <pc:picChg chg="mod">
          <ac:chgData name="Pierre Cavaroc" userId="150eff99-6aed-48f0-b13c-cabd0a4b3ac2" providerId="ADAL" clId="{E623609C-0EF4-4ECB-A655-127E285B354B}" dt="2021-03-21T14:49:26.141" v="2246" actId="1035"/>
          <ac:picMkLst>
            <pc:docMk/>
            <pc:sldMk cId="3777336187" sldId="2134803564"/>
            <ac:picMk id="108" creationId="{B5441CB0-C03D-4ED2-BC2E-ED681AC21239}"/>
          </ac:picMkLst>
        </pc:picChg>
        <pc:picChg chg="mod">
          <ac:chgData name="Pierre Cavaroc" userId="150eff99-6aed-48f0-b13c-cabd0a4b3ac2" providerId="ADAL" clId="{E623609C-0EF4-4ECB-A655-127E285B354B}" dt="2021-03-21T14:49:26.141" v="2246" actId="1035"/>
          <ac:picMkLst>
            <pc:docMk/>
            <pc:sldMk cId="3777336187" sldId="2134803564"/>
            <ac:picMk id="109" creationId="{772F3A46-6CF8-41C4-ACCE-7BFF70F81C28}"/>
          </ac:picMkLst>
        </pc:picChg>
        <pc:picChg chg="mod">
          <ac:chgData name="Pierre Cavaroc" userId="150eff99-6aed-48f0-b13c-cabd0a4b3ac2" providerId="ADAL" clId="{E623609C-0EF4-4ECB-A655-127E285B354B}" dt="2021-03-21T14:49:26.141" v="2246" actId="1035"/>
          <ac:picMkLst>
            <pc:docMk/>
            <pc:sldMk cId="3777336187" sldId="2134803564"/>
            <ac:picMk id="114" creationId="{7019C403-3EA1-4081-927C-5DADAB320ECD}"/>
          </ac:picMkLst>
        </pc:picChg>
        <pc:picChg chg="mod">
          <ac:chgData name="Pierre Cavaroc" userId="150eff99-6aed-48f0-b13c-cabd0a4b3ac2" providerId="ADAL" clId="{E623609C-0EF4-4ECB-A655-127E285B354B}" dt="2021-03-21T14:49:26.141" v="2246" actId="1035"/>
          <ac:picMkLst>
            <pc:docMk/>
            <pc:sldMk cId="3777336187" sldId="2134803564"/>
            <ac:picMk id="115" creationId="{75D938F0-3AB1-4AED-BBF6-6A93B797478C}"/>
          </ac:picMkLst>
        </pc:picChg>
        <pc:picChg chg="mod">
          <ac:chgData name="Pierre Cavaroc" userId="150eff99-6aed-48f0-b13c-cabd0a4b3ac2" providerId="ADAL" clId="{E623609C-0EF4-4ECB-A655-127E285B354B}" dt="2021-03-21T14:49:26.141" v="2246" actId="1035"/>
          <ac:picMkLst>
            <pc:docMk/>
            <pc:sldMk cId="3777336187" sldId="2134803564"/>
            <ac:picMk id="116" creationId="{D017E911-6BB9-4FEB-AED5-F030F2B80D42}"/>
          </ac:picMkLst>
        </pc:picChg>
        <pc:picChg chg="mod">
          <ac:chgData name="Pierre Cavaroc" userId="150eff99-6aed-48f0-b13c-cabd0a4b3ac2" providerId="ADAL" clId="{E623609C-0EF4-4ECB-A655-127E285B354B}" dt="2021-03-21T14:49:26.141" v="2246" actId="1035"/>
          <ac:picMkLst>
            <pc:docMk/>
            <pc:sldMk cId="3777336187" sldId="2134803564"/>
            <ac:picMk id="117" creationId="{35C0B020-C4DA-4E6B-BEC3-2F03EB13C52D}"/>
          </ac:picMkLst>
        </pc:picChg>
        <pc:picChg chg="mod">
          <ac:chgData name="Pierre Cavaroc" userId="150eff99-6aed-48f0-b13c-cabd0a4b3ac2" providerId="ADAL" clId="{E623609C-0EF4-4ECB-A655-127E285B354B}" dt="2021-03-21T14:49:26.141" v="2246" actId="1035"/>
          <ac:picMkLst>
            <pc:docMk/>
            <pc:sldMk cId="3777336187" sldId="2134803564"/>
            <ac:picMk id="118" creationId="{1DF94AA7-C451-4149-95B0-DF5F90EDCA80}"/>
          </ac:picMkLst>
        </pc:picChg>
        <pc:picChg chg="mod">
          <ac:chgData name="Pierre Cavaroc" userId="150eff99-6aed-48f0-b13c-cabd0a4b3ac2" providerId="ADAL" clId="{E623609C-0EF4-4ECB-A655-127E285B354B}" dt="2021-03-21T14:49:26.141" v="2246" actId="1035"/>
          <ac:picMkLst>
            <pc:docMk/>
            <pc:sldMk cId="3777336187" sldId="2134803564"/>
            <ac:picMk id="119" creationId="{40FAE607-36C2-4D62-B51A-4A2A1998CE39}"/>
          </ac:picMkLst>
        </pc:picChg>
        <pc:picChg chg="mod">
          <ac:chgData name="Pierre Cavaroc" userId="150eff99-6aed-48f0-b13c-cabd0a4b3ac2" providerId="ADAL" clId="{E623609C-0EF4-4ECB-A655-127E285B354B}" dt="2021-03-21T14:49:26.141" v="2246" actId="1035"/>
          <ac:picMkLst>
            <pc:docMk/>
            <pc:sldMk cId="3777336187" sldId="2134803564"/>
            <ac:picMk id="120" creationId="{3DB9A6FD-771F-42E8-9E86-DE59C62C6D20}"/>
          </ac:picMkLst>
        </pc:picChg>
      </pc:sldChg>
      <pc:sldChg chg="addSp delSp modSp new del mod">
        <pc:chgData name="Pierre Cavaroc" userId="150eff99-6aed-48f0-b13c-cabd0a4b3ac2" providerId="ADAL" clId="{E623609C-0EF4-4ECB-A655-127E285B354B}" dt="2021-03-20T17:51:59.680" v="789" actId="47"/>
        <pc:sldMkLst>
          <pc:docMk/>
          <pc:sldMk cId="4280802767" sldId="2134803564"/>
        </pc:sldMkLst>
        <pc:spChg chg="del">
          <ac:chgData name="Pierre Cavaroc" userId="150eff99-6aed-48f0-b13c-cabd0a4b3ac2" providerId="ADAL" clId="{E623609C-0EF4-4ECB-A655-127E285B354B}" dt="2021-03-20T17:51:07.738" v="787" actId="931"/>
          <ac:spMkLst>
            <pc:docMk/>
            <pc:sldMk cId="4280802767" sldId="2134803564"/>
            <ac:spMk id="4" creationId="{4B188F81-586D-43EC-8B2D-0B6D77DAFE94}"/>
          </ac:spMkLst>
        </pc:spChg>
        <pc:picChg chg="add mod">
          <ac:chgData name="Pierre Cavaroc" userId="150eff99-6aed-48f0-b13c-cabd0a4b3ac2" providerId="ADAL" clId="{E623609C-0EF4-4ECB-A655-127E285B354B}" dt="2021-03-20T17:51:09.234" v="788" actId="1076"/>
          <ac:picMkLst>
            <pc:docMk/>
            <pc:sldMk cId="4280802767" sldId="2134803564"/>
            <ac:picMk id="6" creationId="{6568CC53-30CD-4452-9C14-18CF8CBDF994}"/>
          </ac:picMkLst>
        </pc:picChg>
      </pc:sldChg>
      <pc:sldChg chg="addSp delSp modSp new mod modTransition modNotesTx">
        <pc:chgData name="Pierre Cavaroc" userId="150eff99-6aed-48f0-b13c-cabd0a4b3ac2" providerId="ADAL" clId="{E623609C-0EF4-4ECB-A655-127E285B354B}" dt="2021-03-21T23:31:28.088" v="6194" actId="113"/>
        <pc:sldMkLst>
          <pc:docMk/>
          <pc:sldMk cId="2813419158" sldId="2134803565"/>
        </pc:sldMkLst>
        <pc:spChg chg="mod">
          <ac:chgData name="Pierre Cavaroc" userId="150eff99-6aed-48f0-b13c-cabd0a4b3ac2" providerId="ADAL" clId="{E623609C-0EF4-4ECB-A655-127E285B354B}" dt="2021-03-21T15:08:24.680" v="2452" actId="1035"/>
          <ac:spMkLst>
            <pc:docMk/>
            <pc:sldMk cId="2813419158" sldId="2134803565"/>
            <ac:spMk id="3" creationId="{6390D96E-1FC7-4E8E-B1BE-B2BB60B23F54}"/>
          </ac:spMkLst>
        </pc:spChg>
        <pc:spChg chg="mod">
          <ac:chgData name="Pierre Cavaroc" userId="150eff99-6aed-48f0-b13c-cabd0a4b3ac2" providerId="ADAL" clId="{E623609C-0EF4-4ECB-A655-127E285B354B}" dt="2021-03-21T14:50:21.617" v="2260" actId="20577"/>
          <ac:spMkLst>
            <pc:docMk/>
            <pc:sldMk cId="2813419158" sldId="2134803565"/>
            <ac:spMk id="4" creationId="{A133A25D-B860-489F-A59A-0B08A8752193}"/>
          </ac:spMkLst>
        </pc:spChg>
        <pc:spChg chg="add mod">
          <ac:chgData name="Pierre Cavaroc" userId="150eff99-6aed-48f0-b13c-cabd0a4b3ac2" providerId="ADAL" clId="{E623609C-0EF4-4ECB-A655-127E285B354B}" dt="2021-03-21T23:25:30.206" v="6144" actId="20577"/>
          <ac:spMkLst>
            <pc:docMk/>
            <pc:sldMk cId="2813419158" sldId="2134803565"/>
            <ac:spMk id="5" creationId="{BCCBF61D-77C2-42EC-B3EE-009CC62AF4E6}"/>
          </ac:spMkLst>
        </pc:spChg>
        <pc:spChg chg="add mod">
          <ac:chgData name="Pierre Cavaroc" userId="150eff99-6aed-48f0-b13c-cabd0a4b3ac2" providerId="ADAL" clId="{E623609C-0EF4-4ECB-A655-127E285B354B}" dt="2021-03-21T16:27:38.538" v="3041" actId="207"/>
          <ac:spMkLst>
            <pc:docMk/>
            <pc:sldMk cId="2813419158" sldId="2134803565"/>
            <ac:spMk id="6" creationId="{BB7BA6AE-B7C6-4E09-8D58-46CE91DEE7CA}"/>
          </ac:spMkLst>
        </pc:spChg>
        <pc:spChg chg="add del mod">
          <ac:chgData name="Pierre Cavaroc" userId="150eff99-6aed-48f0-b13c-cabd0a4b3ac2" providerId="ADAL" clId="{E623609C-0EF4-4ECB-A655-127E285B354B}" dt="2021-03-21T15:04:00.488" v="2415" actId="478"/>
          <ac:spMkLst>
            <pc:docMk/>
            <pc:sldMk cId="2813419158" sldId="2134803565"/>
            <ac:spMk id="11" creationId="{5376B748-65E2-4C5D-A8E0-6D4C3C3ECCA6}"/>
          </ac:spMkLst>
        </pc:spChg>
        <pc:spChg chg="add mod">
          <ac:chgData name="Pierre Cavaroc" userId="150eff99-6aed-48f0-b13c-cabd0a4b3ac2" providerId="ADAL" clId="{E623609C-0EF4-4ECB-A655-127E285B354B}" dt="2021-03-21T15:08:40.512" v="2454" actId="1035"/>
          <ac:spMkLst>
            <pc:docMk/>
            <pc:sldMk cId="2813419158" sldId="2134803565"/>
            <ac:spMk id="12" creationId="{751817DE-8AB8-4C84-9E00-CFEE0B03A3A0}"/>
          </ac:spMkLst>
        </pc:spChg>
        <pc:spChg chg="add mod">
          <ac:chgData name="Pierre Cavaroc" userId="150eff99-6aed-48f0-b13c-cabd0a4b3ac2" providerId="ADAL" clId="{E623609C-0EF4-4ECB-A655-127E285B354B}" dt="2021-03-21T16:23:18.199" v="3009" actId="1076"/>
          <ac:spMkLst>
            <pc:docMk/>
            <pc:sldMk cId="2813419158" sldId="2134803565"/>
            <ac:spMk id="13" creationId="{0C5B20E6-C000-4F14-A786-C77B6B745340}"/>
          </ac:spMkLst>
        </pc:spChg>
        <pc:picChg chg="add del mod">
          <ac:chgData name="Pierre Cavaroc" userId="150eff99-6aed-48f0-b13c-cabd0a4b3ac2" providerId="ADAL" clId="{E623609C-0EF4-4ECB-A655-127E285B354B}" dt="2021-03-21T14:59:13.476" v="2364" actId="478"/>
          <ac:picMkLst>
            <pc:docMk/>
            <pc:sldMk cId="2813419158" sldId="2134803565"/>
            <ac:picMk id="8" creationId="{6C5F679B-3A1B-4825-838D-7980D0D7EAEB}"/>
          </ac:picMkLst>
        </pc:picChg>
        <pc:picChg chg="add mod">
          <ac:chgData name="Pierre Cavaroc" userId="150eff99-6aed-48f0-b13c-cabd0a4b3ac2" providerId="ADAL" clId="{E623609C-0EF4-4ECB-A655-127E285B354B}" dt="2021-03-21T15:07:48.341" v="2446" actId="1076"/>
          <ac:picMkLst>
            <pc:docMk/>
            <pc:sldMk cId="2813419158" sldId="2134803565"/>
            <ac:picMk id="10" creationId="{E660D1E1-4814-45DA-872C-C12C6FB83DDD}"/>
          </ac:picMkLst>
        </pc:picChg>
      </pc:sldChg>
      <pc:sldChg chg="addSp delSp modSp new mod modTransition modAnim modNotesTx">
        <pc:chgData name="Pierre Cavaroc" userId="150eff99-6aed-48f0-b13c-cabd0a4b3ac2" providerId="ADAL" clId="{E623609C-0EF4-4ECB-A655-127E285B354B}" dt="2021-03-21T23:30:45.753" v="6153" actId="113"/>
        <pc:sldMkLst>
          <pc:docMk/>
          <pc:sldMk cId="1090714715" sldId="2134803566"/>
        </pc:sldMkLst>
        <pc:spChg chg="del">
          <ac:chgData name="Pierre Cavaroc" userId="150eff99-6aed-48f0-b13c-cabd0a4b3ac2" providerId="ADAL" clId="{E623609C-0EF4-4ECB-A655-127E285B354B}" dt="2021-03-21T15:18:55.775" v="2535" actId="478"/>
          <ac:spMkLst>
            <pc:docMk/>
            <pc:sldMk cId="1090714715" sldId="2134803566"/>
            <ac:spMk id="3" creationId="{A217E1E9-B0E3-4ECF-87EF-8715244B4B2A}"/>
          </ac:spMkLst>
        </pc:spChg>
        <pc:spChg chg="mod">
          <ac:chgData name="Pierre Cavaroc" userId="150eff99-6aed-48f0-b13c-cabd0a4b3ac2" providerId="ADAL" clId="{E623609C-0EF4-4ECB-A655-127E285B354B}" dt="2021-03-21T15:25:06.569" v="2583" actId="20577"/>
          <ac:spMkLst>
            <pc:docMk/>
            <pc:sldMk cId="1090714715" sldId="2134803566"/>
            <ac:spMk id="4" creationId="{C380DB37-DE6C-4993-A257-4C5C00E36E71}"/>
          </ac:spMkLst>
        </pc:spChg>
        <pc:spChg chg="add del mod">
          <ac:chgData name="Pierre Cavaroc" userId="150eff99-6aed-48f0-b13c-cabd0a4b3ac2" providerId="ADAL" clId="{E623609C-0EF4-4ECB-A655-127E285B354B}" dt="2021-03-21T15:46:17.549" v="2638" actId="478"/>
          <ac:spMkLst>
            <pc:docMk/>
            <pc:sldMk cId="1090714715" sldId="2134803566"/>
            <ac:spMk id="19" creationId="{78EC8B9A-CFF9-414C-AF92-B377AABAC300}"/>
          </ac:spMkLst>
        </pc:spChg>
        <pc:spChg chg="add del mod">
          <ac:chgData name="Pierre Cavaroc" userId="150eff99-6aed-48f0-b13c-cabd0a4b3ac2" providerId="ADAL" clId="{E623609C-0EF4-4ECB-A655-127E285B354B}" dt="2021-03-21T15:47:27.861" v="2665" actId="478"/>
          <ac:spMkLst>
            <pc:docMk/>
            <pc:sldMk cId="1090714715" sldId="2134803566"/>
            <ac:spMk id="20" creationId="{27DBE684-F103-4885-B006-F6708E3EA961}"/>
          </ac:spMkLst>
        </pc:spChg>
        <pc:picChg chg="add mod">
          <ac:chgData name="Pierre Cavaroc" userId="150eff99-6aed-48f0-b13c-cabd0a4b3ac2" providerId="ADAL" clId="{E623609C-0EF4-4ECB-A655-127E285B354B}" dt="2021-03-21T15:49:32.057" v="2724" actId="1076"/>
          <ac:picMkLst>
            <pc:docMk/>
            <pc:sldMk cId="1090714715" sldId="2134803566"/>
            <ac:picMk id="6" creationId="{F2BC3F63-D981-4AB6-89FA-502D7FBE7AD6}"/>
          </ac:picMkLst>
        </pc:picChg>
        <pc:picChg chg="add mod">
          <ac:chgData name="Pierre Cavaroc" userId="150eff99-6aed-48f0-b13c-cabd0a4b3ac2" providerId="ADAL" clId="{E623609C-0EF4-4ECB-A655-127E285B354B}" dt="2021-03-21T15:49:00.038" v="2720" actId="14100"/>
          <ac:picMkLst>
            <pc:docMk/>
            <pc:sldMk cId="1090714715" sldId="2134803566"/>
            <ac:picMk id="8" creationId="{84A13FEE-5E45-4A3D-BCAF-7C92A2E30B85}"/>
          </ac:picMkLst>
        </pc:picChg>
        <pc:picChg chg="add mod">
          <ac:chgData name="Pierre Cavaroc" userId="150eff99-6aed-48f0-b13c-cabd0a4b3ac2" providerId="ADAL" clId="{E623609C-0EF4-4ECB-A655-127E285B354B}" dt="2021-03-21T15:49:24.750" v="2723" actId="1076"/>
          <ac:picMkLst>
            <pc:docMk/>
            <pc:sldMk cId="1090714715" sldId="2134803566"/>
            <ac:picMk id="10" creationId="{5A2D2A44-5E47-49AF-93E9-53095057307A}"/>
          </ac:picMkLst>
        </pc:picChg>
        <pc:picChg chg="add mod">
          <ac:chgData name="Pierre Cavaroc" userId="150eff99-6aed-48f0-b13c-cabd0a4b3ac2" providerId="ADAL" clId="{E623609C-0EF4-4ECB-A655-127E285B354B}" dt="2021-03-21T15:50:36.101" v="2738" actId="1036"/>
          <ac:picMkLst>
            <pc:docMk/>
            <pc:sldMk cId="1090714715" sldId="2134803566"/>
            <ac:picMk id="12" creationId="{FFAE4BC3-B8F1-4C4A-B439-3AC1795B6393}"/>
          </ac:picMkLst>
        </pc:picChg>
        <pc:picChg chg="add mod">
          <ac:chgData name="Pierre Cavaroc" userId="150eff99-6aed-48f0-b13c-cabd0a4b3ac2" providerId="ADAL" clId="{E623609C-0EF4-4ECB-A655-127E285B354B}" dt="2021-03-21T15:50:36.101" v="2738" actId="1036"/>
          <ac:picMkLst>
            <pc:docMk/>
            <pc:sldMk cId="1090714715" sldId="2134803566"/>
            <ac:picMk id="14" creationId="{4975BEA8-1D1F-45EE-84B7-6B29A11BB8C6}"/>
          </ac:picMkLst>
        </pc:picChg>
        <pc:picChg chg="add mod">
          <ac:chgData name="Pierre Cavaroc" userId="150eff99-6aed-48f0-b13c-cabd0a4b3ac2" providerId="ADAL" clId="{E623609C-0EF4-4ECB-A655-127E285B354B}" dt="2021-03-21T15:50:36.101" v="2738" actId="1036"/>
          <ac:picMkLst>
            <pc:docMk/>
            <pc:sldMk cId="1090714715" sldId="2134803566"/>
            <ac:picMk id="16" creationId="{CD5EA2D3-EB8D-4969-9156-0535C39FB917}"/>
          </ac:picMkLst>
        </pc:picChg>
        <pc:picChg chg="add mod">
          <ac:chgData name="Pierre Cavaroc" userId="150eff99-6aed-48f0-b13c-cabd0a4b3ac2" providerId="ADAL" clId="{E623609C-0EF4-4ECB-A655-127E285B354B}" dt="2021-03-21T16:51:57.620" v="3259" actId="1076"/>
          <ac:picMkLst>
            <pc:docMk/>
            <pc:sldMk cId="1090714715" sldId="2134803566"/>
            <ac:picMk id="18" creationId="{7AB90995-AF77-4103-AB06-CD5F2877EA64}"/>
          </ac:picMkLst>
        </pc:picChg>
      </pc:sldChg>
      <pc:sldChg chg="addSp delSp modSp new del mod modClrScheme chgLayout">
        <pc:chgData name="Pierre Cavaroc" userId="150eff99-6aed-48f0-b13c-cabd0a4b3ac2" providerId="ADAL" clId="{E623609C-0EF4-4ECB-A655-127E285B354B}" dt="2021-03-21T15:14:25.388" v="2521" actId="2696"/>
        <pc:sldMkLst>
          <pc:docMk/>
          <pc:sldMk cId="1664383572" sldId="2134803567"/>
        </pc:sldMkLst>
        <pc:spChg chg="mod ord">
          <ac:chgData name="Pierre Cavaroc" userId="150eff99-6aed-48f0-b13c-cabd0a4b3ac2" providerId="ADAL" clId="{E623609C-0EF4-4ECB-A655-127E285B354B}" dt="2021-03-21T15:11:15.417" v="2481" actId="700"/>
          <ac:spMkLst>
            <pc:docMk/>
            <pc:sldMk cId="1664383572" sldId="2134803567"/>
            <ac:spMk id="2" creationId="{61B12230-5BFE-4CC4-B8FA-528045B5874B}"/>
          </ac:spMkLst>
        </pc:spChg>
        <pc:spChg chg="del">
          <ac:chgData name="Pierre Cavaroc" userId="150eff99-6aed-48f0-b13c-cabd0a4b3ac2" providerId="ADAL" clId="{E623609C-0EF4-4ECB-A655-127E285B354B}" dt="2021-03-21T15:11:09.753" v="2480" actId="478"/>
          <ac:spMkLst>
            <pc:docMk/>
            <pc:sldMk cId="1664383572" sldId="2134803567"/>
            <ac:spMk id="3" creationId="{E5BDA0DD-1B91-4859-91D5-D2CAC1E573BB}"/>
          </ac:spMkLst>
        </pc:spChg>
        <pc:spChg chg="del mod ord">
          <ac:chgData name="Pierre Cavaroc" userId="150eff99-6aed-48f0-b13c-cabd0a4b3ac2" providerId="ADAL" clId="{E623609C-0EF4-4ECB-A655-127E285B354B}" dt="2021-03-21T15:11:15.417" v="2481" actId="700"/>
          <ac:spMkLst>
            <pc:docMk/>
            <pc:sldMk cId="1664383572" sldId="2134803567"/>
            <ac:spMk id="4" creationId="{4A7B67E9-12F8-4D9A-9C9F-C305E8CE5ABF}"/>
          </ac:spMkLst>
        </pc:spChg>
        <pc:spChg chg="add mod ord">
          <ac:chgData name="Pierre Cavaroc" userId="150eff99-6aed-48f0-b13c-cabd0a4b3ac2" providerId="ADAL" clId="{E623609C-0EF4-4ECB-A655-127E285B354B}" dt="2021-03-21T15:11:42.885" v="2510" actId="207"/>
          <ac:spMkLst>
            <pc:docMk/>
            <pc:sldMk cId="1664383572" sldId="2134803567"/>
            <ac:spMk id="5" creationId="{9E4FC3E7-C484-4F27-8D86-B265D3297303}"/>
          </ac:spMkLst>
        </pc:spChg>
        <pc:spChg chg="add mod">
          <ac:chgData name="Pierre Cavaroc" userId="150eff99-6aed-48f0-b13c-cabd0a4b3ac2" providerId="ADAL" clId="{E623609C-0EF4-4ECB-A655-127E285B354B}" dt="2021-03-21T15:12:32.199" v="2520" actId="14100"/>
          <ac:spMkLst>
            <pc:docMk/>
            <pc:sldMk cId="1664383572" sldId="2134803567"/>
            <ac:spMk id="6" creationId="{85499DB6-A7FA-4637-9CE2-3543FBAEE0DC}"/>
          </ac:spMkLst>
        </pc:spChg>
      </pc:sldChg>
      <pc:sldChg chg="modSp mod modTransition modAnim">
        <pc:chgData name="Pierre Cavaroc" userId="150eff99-6aed-48f0-b13c-cabd0a4b3ac2" providerId="ADAL" clId="{E623609C-0EF4-4ECB-A655-127E285B354B}" dt="2021-03-21T16:50:14.224" v="3245"/>
        <pc:sldMkLst>
          <pc:docMk/>
          <pc:sldMk cId="3411623445" sldId="2134803567"/>
        </pc:sldMkLst>
        <pc:spChg chg="mod">
          <ac:chgData name="Pierre Cavaroc" userId="150eff99-6aed-48f0-b13c-cabd0a4b3ac2" providerId="ADAL" clId="{E623609C-0EF4-4ECB-A655-127E285B354B}" dt="2021-03-21T16:46:37.131" v="3213" actId="1076"/>
          <ac:spMkLst>
            <pc:docMk/>
            <pc:sldMk cId="3411623445" sldId="2134803567"/>
            <ac:spMk id="6" creationId="{D037EEB5-6036-41AA-855E-326A8E292CAE}"/>
          </ac:spMkLst>
        </pc:spChg>
      </pc:sldChg>
      <pc:sldChg chg="addSp delSp modSp mod modTransition modAnim modNotesTx">
        <pc:chgData name="Pierre Cavaroc" userId="150eff99-6aed-48f0-b13c-cabd0a4b3ac2" providerId="ADAL" clId="{E623609C-0EF4-4ECB-A655-127E285B354B}" dt="2021-03-21T23:36:03.820" v="6326" actId="20577"/>
        <pc:sldMkLst>
          <pc:docMk/>
          <pc:sldMk cId="3651244346" sldId="2134803568"/>
        </pc:sldMkLst>
        <pc:spChg chg="mod">
          <ac:chgData name="Pierre Cavaroc" userId="150eff99-6aed-48f0-b13c-cabd0a4b3ac2" providerId="ADAL" clId="{E623609C-0EF4-4ECB-A655-127E285B354B}" dt="2021-03-21T16:02:13.228" v="2812" actId="20577"/>
          <ac:spMkLst>
            <pc:docMk/>
            <pc:sldMk cId="3651244346" sldId="2134803568"/>
            <ac:spMk id="4" creationId="{C380DB37-DE6C-4993-A257-4C5C00E36E71}"/>
          </ac:spMkLst>
        </pc:spChg>
        <pc:spChg chg="add mod">
          <ac:chgData name="Pierre Cavaroc" userId="150eff99-6aed-48f0-b13c-cabd0a4b3ac2" providerId="ADAL" clId="{E623609C-0EF4-4ECB-A655-127E285B354B}" dt="2021-03-21T16:26:17.942" v="3033" actId="207"/>
          <ac:spMkLst>
            <pc:docMk/>
            <pc:sldMk cId="3651244346" sldId="2134803568"/>
            <ac:spMk id="15" creationId="{5190BD70-C031-474E-B19C-BDB0414BB116}"/>
          </ac:spMkLst>
        </pc:spChg>
        <pc:spChg chg="add mod">
          <ac:chgData name="Pierre Cavaroc" userId="150eff99-6aed-48f0-b13c-cabd0a4b3ac2" providerId="ADAL" clId="{E623609C-0EF4-4ECB-A655-127E285B354B}" dt="2021-03-21T16:26:14.310" v="3032" actId="207"/>
          <ac:spMkLst>
            <pc:docMk/>
            <pc:sldMk cId="3651244346" sldId="2134803568"/>
            <ac:spMk id="16" creationId="{AEA771B3-58FF-48B2-9617-3398C6AB471B}"/>
          </ac:spMkLst>
        </pc:spChg>
        <pc:spChg chg="add mod">
          <ac:chgData name="Pierre Cavaroc" userId="150eff99-6aed-48f0-b13c-cabd0a4b3ac2" providerId="ADAL" clId="{E623609C-0EF4-4ECB-A655-127E285B354B}" dt="2021-03-21T16:37:29.184" v="3172" actId="164"/>
          <ac:spMkLst>
            <pc:docMk/>
            <pc:sldMk cId="3651244346" sldId="2134803568"/>
            <ac:spMk id="20" creationId="{BFA508B0-82C3-4C76-A582-E73E60825A9F}"/>
          </ac:spMkLst>
        </pc:spChg>
        <pc:spChg chg="add mod">
          <ac:chgData name="Pierre Cavaroc" userId="150eff99-6aed-48f0-b13c-cabd0a4b3ac2" providerId="ADAL" clId="{E623609C-0EF4-4ECB-A655-127E285B354B}" dt="2021-03-21T16:37:50.667" v="3174" actId="1076"/>
          <ac:spMkLst>
            <pc:docMk/>
            <pc:sldMk cId="3651244346" sldId="2134803568"/>
            <ac:spMk id="21" creationId="{CF5E9EB1-DC68-4D13-967D-DFBAF5F7C3E9}"/>
          </ac:spMkLst>
        </pc:spChg>
        <pc:spChg chg="add mod">
          <ac:chgData name="Pierre Cavaroc" userId="150eff99-6aed-48f0-b13c-cabd0a4b3ac2" providerId="ADAL" clId="{E623609C-0EF4-4ECB-A655-127E285B354B}" dt="2021-03-21T18:39:49.199" v="3263" actId="1076"/>
          <ac:spMkLst>
            <pc:docMk/>
            <pc:sldMk cId="3651244346" sldId="2134803568"/>
            <ac:spMk id="22" creationId="{80DBDD39-266B-40EC-8ED9-8F7462E6CE3D}"/>
          </ac:spMkLst>
        </pc:spChg>
        <pc:grpChg chg="add mod">
          <ac:chgData name="Pierre Cavaroc" userId="150eff99-6aed-48f0-b13c-cabd0a4b3ac2" providerId="ADAL" clId="{E623609C-0EF4-4ECB-A655-127E285B354B}" dt="2021-03-21T16:37:50.667" v="3174" actId="1076"/>
          <ac:grpSpMkLst>
            <pc:docMk/>
            <pc:sldMk cId="3651244346" sldId="2134803568"/>
            <ac:grpSpMk id="17" creationId="{16FCF611-66FB-4557-BAB9-06CEF981FF78}"/>
          </ac:grpSpMkLst>
        </pc:grpChg>
        <pc:grpChg chg="add mod">
          <ac:chgData name="Pierre Cavaroc" userId="150eff99-6aed-48f0-b13c-cabd0a4b3ac2" providerId="ADAL" clId="{E623609C-0EF4-4ECB-A655-127E285B354B}" dt="2021-03-21T16:37:50.667" v="3174" actId="1076"/>
          <ac:grpSpMkLst>
            <pc:docMk/>
            <pc:sldMk cId="3651244346" sldId="2134803568"/>
            <ac:grpSpMk id="18" creationId="{786B3847-9C11-4269-82DE-25C69D020ABD}"/>
          </ac:grpSpMkLst>
        </pc:grpChg>
        <pc:grpChg chg="add mod">
          <ac:chgData name="Pierre Cavaroc" userId="150eff99-6aed-48f0-b13c-cabd0a4b3ac2" providerId="ADAL" clId="{E623609C-0EF4-4ECB-A655-127E285B354B}" dt="2021-03-21T16:37:38.102" v="3173" actId="1076"/>
          <ac:grpSpMkLst>
            <pc:docMk/>
            <pc:sldMk cId="3651244346" sldId="2134803568"/>
            <ac:grpSpMk id="23" creationId="{8A468C18-5126-4705-8700-637A1A8EFE50}"/>
          </ac:grpSpMkLst>
        </pc:grpChg>
        <pc:graphicFrameChg chg="add del mod">
          <ac:chgData name="Pierre Cavaroc" userId="150eff99-6aed-48f0-b13c-cabd0a4b3ac2" providerId="ADAL" clId="{E623609C-0EF4-4ECB-A655-127E285B354B}" dt="2021-03-21T16:07:46" v="2857" actId="478"/>
          <ac:graphicFrameMkLst>
            <pc:docMk/>
            <pc:sldMk cId="3651244346" sldId="2134803568"/>
            <ac:graphicFrameMk id="8" creationId="{59446177-7F30-46F6-9DA6-24CA01000681}"/>
          </ac:graphicFrameMkLst>
        </pc:graphicFrameChg>
        <pc:picChg chg="add del mod">
          <ac:chgData name="Pierre Cavaroc" userId="150eff99-6aed-48f0-b13c-cabd0a4b3ac2" providerId="ADAL" clId="{E623609C-0EF4-4ECB-A655-127E285B354B}" dt="2021-03-21T16:06:07.331" v="2853"/>
          <ac:picMkLst>
            <pc:docMk/>
            <pc:sldMk cId="3651244346" sldId="2134803568"/>
            <ac:picMk id="5" creationId="{D5CB0F57-B8CB-4A8F-8136-DB9430C9759B}"/>
          </ac:picMkLst>
        </pc:picChg>
        <pc:picChg chg="add mod">
          <ac:chgData name="Pierre Cavaroc" userId="150eff99-6aed-48f0-b13c-cabd0a4b3ac2" providerId="ADAL" clId="{E623609C-0EF4-4ECB-A655-127E285B354B}" dt="2021-03-21T16:37:50.667" v="3174" actId="1076"/>
          <ac:picMkLst>
            <pc:docMk/>
            <pc:sldMk cId="3651244346" sldId="2134803568"/>
            <ac:picMk id="7" creationId="{CC90CD06-B4F2-42AF-BC77-8739564A1E72}"/>
          </ac:picMkLst>
        </pc:picChg>
        <pc:picChg chg="add mod">
          <ac:chgData name="Pierre Cavaroc" userId="150eff99-6aed-48f0-b13c-cabd0a4b3ac2" providerId="ADAL" clId="{E623609C-0EF4-4ECB-A655-127E285B354B}" dt="2021-03-21T16:17:50.458" v="2979" actId="164"/>
          <ac:picMkLst>
            <pc:docMk/>
            <pc:sldMk cId="3651244346" sldId="2134803568"/>
            <ac:picMk id="10" creationId="{ED57B3A7-FE89-4911-BA0A-231ED90E8C0D}"/>
          </ac:picMkLst>
        </pc:picChg>
        <pc:picChg chg="add mod">
          <ac:chgData name="Pierre Cavaroc" userId="150eff99-6aed-48f0-b13c-cabd0a4b3ac2" providerId="ADAL" clId="{E623609C-0EF4-4ECB-A655-127E285B354B}" dt="2021-03-21T16:17:54.143" v="2980" actId="164"/>
          <ac:picMkLst>
            <pc:docMk/>
            <pc:sldMk cId="3651244346" sldId="2134803568"/>
            <ac:picMk id="12" creationId="{BA880ED7-9C7A-40FE-9017-A8862A6F2DAA}"/>
          </ac:picMkLst>
        </pc:picChg>
        <pc:picChg chg="add mod">
          <ac:chgData name="Pierre Cavaroc" userId="150eff99-6aed-48f0-b13c-cabd0a4b3ac2" providerId="ADAL" clId="{E623609C-0EF4-4ECB-A655-127E285B354B}" dt="2021-03-21T16:37:29.184" v="3172" actId="164"/>
          <ac:picMkLst>
            <pc:docMk/>
            <pc:sldMk cId="3651244346" sldId="2134803568"/>
            <ac:picMk id="14" creationId="{0BA1815A-3578-457A-8612-E2F03CF66132}"/>
          </ac:picMkLst>
        </pc:picChg>
      </pc:sldChg>
      <pc:sldChg chg="addSp delSp modSp new mod modTransition addAnim delAnim modAnim modNotesTx">
        <pc:chgData name="Pierre Cavaroc" userId="150eff99-6aed-48f0-b13c-cabd0a4b3ac2" providerId="ADAL" clId="{E623609C-0EF4-4ECB-A655-127E285B354B}" dt="2021-03-21T23:37:00.564" v="6347" actId="20577"/>
        <pc:sldMkLst>
          <pc:docMk/>
          <pc:sldMk cId="561314200" sldId="2134803569"/>
        </pc:sldMkLst>
        <pc:spChg chg="del">
          <ac:chgData name="Pierre Cavaroc" userId="150eff99-6aed-48f0-b13c-cabd0a4b3ac2" providerId="ADAL" clId="{E623609C-0EF4-4ECB-A655-127E285B354B}" dt="2021-03-21T18:45:29.344" v="3264"/>
          <ac:spMkLst>
            <pc:docMk/>
            <pc:sldMk cId="561314200" sldId="2134803569"/>
            <ac:spMk id="3" creationId="{3764F436-63AB-4389-9D98-742AD645BEE4}"/>
          </ac:spMkLst>
        </pc:spChg>
        <pc:spChg chg="mod">
          <ac:chgData name="Pierre Cavaroc" userId="150eff99-6aed-48f0-b13c-cabd0a4b3ac2" providerId="ADAL" clId="{E623609C-0EF4-4ECB-A655-127E285B354B}" dt="2021-03-21T16:02:31.492" v="2844" actId="20577"/>
          <ac:spMkLst>
            <pc:docMk/>
            <pc:sldMk cId="561314200" sldId="2134803569"/>
            <ac:spMk id="4" creationId="{26F1F710-EEEE-498E-A529-999D25718BD0}"/>
          </ac:spMkLst>
        </pc:spChg>
        <pc:spChg chg="add mod">
          <ac:chgData name="Pierre Cavaroc" userId="150eff99-6aed-48f0-b13c-cabd0a4b3ac2" providerId="ADAL" clId="{E623609C-0EF4-4ECB-A655-127E285B354B}" dt="2021-03-21T20:11:19.282" v="3677" actId="1076"/>
          <ac:spMkLst>
            <pc:docMk/>
            <pc:sldMk cId="561314200" sldId="2134803569"/>
            <ac:spMk id="16" creationId="{A64B375B-E51D-4353-B5BF-D145393F09DE}"/>
          </ac:spMkLst>
        </pc:spChg>
        <pc:grpChg chg="add mod">
          <ac:chgData name="Pierre Cavaroc" userId="150eff99-6aed-48f0-b13c-cabd0a4b3ac2" providerId="ADAL" clId="{E623609C-0EF4-4ECB-A655-127E285B354B}" dt="2021-03-21T20:11:19.282" v="3677" actId="1076"/>
          <ac:grpSpMkLst>
            <pc:docMk/>
            <pc:sldMk cId="561314200" sldId="2134803569"/>
            <ac:grpSpMk id="15" creationId="{45E4296E-45C6-4A57-88E7-27261DB24997}"/>
          </ac:grpSpMkLst>
        </pc:grpChg>
        <pc:grpChg chg="add mod">
          <ac:chgData name="Pierre Cavaroc" userId="150eff99-6aed-48f0-b13c-cabd0a4b3ac2" providerId="ADAL" clId="{E623609C-0EF4-4ECB-A655-127E285B354B}" dt="2021-03-21T19:13:00.523" v="3394" actId="164"/>
          <ac:grpSpMkLst>
            <pc:docMk/>
            <pc:sldMk cId="561314200" sldId="2134803569"/>
            <ac:grpSpMk id="25" creationId="{63B68A3C-953C-4B39-B8B9-B83A52C34517}"/>
          </ac:grpSpMkLst>
        </pc:grpChg>
        <pc:grpChg chg="add mod">
          <ac:chgData name="Pierre Cavaroc" userId="150eff99-6aed-48f0-b13c-cabd0a4b3ac2" providerId="ADAL" clId="{E623609C-0EF4-4ECB-A655-127E285B354B}" dt="2021-03-21T20:12:59.901" v="3697" actId="1076"/>
          <ac:grpSpMkLst>
            <pc:docMk/>
            <pc:sldMk cId="561314200" sldId="2134803569"/>
            <ac:grpSpMk id="26" creationId="{C66C02D0-D0C0-40E3-B316-B89002D9EEF9}"/>
          </ac:grpSpMkLst>
        </pc:grpChg>
        <pc:grpChg chg="add mod">
          <ac:chgData name="Pierre Cavaroc" userId="150eff99-6aed-48f0-b13c-cabd0a4b3ac2" providerId="ADAL" clId="{E623609C-0EF4-4ECB-A655-127E285B354B}" dt="2021-03-21T20:05:56.214" v="3655" actId="1076"/>
          <ac:grpSpMkLst>
            <pc:docMk/>
            <pc:sldMk cId="561314200" sldId="2134803569"/>
            <ac:grpSpMk id="34" creationId="{D2F2207E-4E38-4926-BBA5-D27CBDDF09AC}"/>
          </ac:grpSpMkLst>
        </pc:grpChg>
        <pc:graphicFrameChg chg="add del mod modGraphic">
          <ac:chgData name="Pierre Cavaroc" userId="150eff99-6aed-48f0-b13c-cabd0a4b3ac2" providerId="ADAL" clId="{E623609C-0EF4-4ECB-A655-127E285B354B}" dt="2021-03-21T19:19:17.717" v="3440" actId="478"/>
          <ac:graphicFrameMkLst>
            <pc:docMk/>
            <pc:sldMk cId="561314200" sldId="2134803569"/>
            <ac:graphicFrameMk id="27" creationId="{8A59F01B-333C-471F-AF49-45173365EBBD}"/>
          </ac:graphicFrameMkLst>
        </pc:graphicFrameChg>
        <pc:graphicFrameChg chg="add del mod modGraphic">
          <ac:chgData name="Pierre Cavaroc" userId="150eff99-6aed-48f0-b13c-cabd0a4b3ac2" providerId="ADAL" clId="{E623609C-0EF4-4ECB-A655-127E285B354B}" dt="2021-03-21T19:19:47.353" v="3444" actId="478"/>
          <ac:graphicFrameMkLst>
            <pc:docMk/>
            <pc:sldMk cId="561314200" sldId="2134803569"/>
            <ac:graphicFrameMk id="28" creationId="{A6D0D3A7-9625-4CDA-B91D-002D3565C9D3}"/>
          </ac:graphicFrameMkLst>
        </pc:graphicFrameChg>
        <pc:graphicFrameChg chg="add del mod modGraphic">
          <ac:chgData name="Pierre Cavaroc" userId="150eff99-6aed-48f0-b13c-cabd0a4b3ac2" providerId="ADAL" clId="{E623609C-0EF4-4ECB-A655-127E285B354B}" dt="2021-03-21T19:20:29.978" v="3448" actId="478"/>
          <ac:graphicFrameMkLst>
            <pc:docMk/>
            <pc:sldMk cId="561314200" sldId="2134803569"/>
            <ac:graphicFrameMk id="29" creationId="{B1C37DFF-DD2F-4829-9683-D2CCD4034092}"/>
          </ac:graphicFrameMkLst>
        </pc:graphicFrameChg>
        <pc:picChg chg="add mod ord">
          <ac:chgData name="Pierre Cavaroc" userId="150eff99-6aed-48f0-b13c-cabd0a4b3ac2" providerId="ADAL" clId="{E623609C-0EF4-4ECB-A655-127E285B354B}" dt="2021-03-21T20:11:24.153" v="3678" actId="1076"/>
          <ac:picMkLst>
            <pc:docMk/>
            <pc:sldMk cId="561314200" sldId="2134803569"/>
            <ac:picMk id="6" creationId="{958E4587-73BC-486E-A688-210F2FF1C2AB}"/>
          </ac:picMkLst>
        </pc:picChg>
        <pc:picChg chg="add del mod modCrop">
          <ac:chgData name="Pierre Cavaroc" userId="150eff99-6aed-48f0-b13c-cabd0a4b3ac2" providerId="ADAL" clId="{E623609C-0EF4-4ECB-A655-127E285B354B}" dt="2021-03-21T20:11:19.282" v="3677" actId="1076"/>
          <ac:picMkLst>
            <pc:docMk/>
            <pc:sldMk cId="561314200" sldId="2134803569"/>
            <ac:picMk id="8" creationId="{F91B122A-E737-43ED-B3C7-C38879F7E2C8}"/>
          </ac:picMkLst>
        </pc:picChg>
        <pc:picChg chg="add mod">
          <ac:chgData name="Pierre Cavaroc" userId="150eff99-6aed-48f0-b13c-cabd0a4b3ac2" providerId="ADAL" clId="{E623609C-0EF4-4ECB-A655-127E285B354B}" dt="2021-03-21T20:11:19.282" v="3677" actId="1076"/>
          <ac:picMkLst>
            <pc:docMk/>
            <pc:sldMk cId="561314200" sldId="2134803569"/>
            <ac:picMk id="10" creationId="{6967995B-ECD2-49C5-A001-CA2189718A3D}"/>
          </ac:picMkLst>
        </pc:picChg>
        <pc:picChg chg="add mod modCrop">
          <ac:chgData name="Pierre Cavaroc" userId="150eff99-6aed-48f0-b13c-cabd0a4b3ac2" providerId="ADAL" clId="{E623609C-0EF4-4ECB-A655-127E285B354B}" dt="2021-03-21T18:57:42.440" v="3304" actId="164"/>
          <ac:picMkLst>
            <pc:docMk/>
            <pc:sldMk cId="561314200" sldId="2134803569"/>
            <ac:picMk id="12" creationId="{674D0CF5-2186-4662-B962-BFF008BFCB07}"/>
          </ac:picMkLst>
        </pc:picChg>
        <pc:picChg chg="add mod modCrop">
          <ac:chgData name="Pierre Cavaroc" userId="150eff99-6aed-48f0-b13c-cabd0a4b3ac2" providerId="ADAL" clId="{E623609C-0EF4-4ECB-A655-127E285B354B}" dt="2021-03-21T18:57:42.440" v="3304" actId="164"/>
          <ac:picMkLst>
            <pc:docMk/>
            <pc:sldMk cId="561314200" sldId="2134803569"/>
            <ac:picMk id="14" creationId="{85B691D7-5C63-4FBC-8EDA-176BA9504CFA}"/>
          </ac:picMkLst>
        </pc:picChg>
        <pc:picChg chg="add mod">
          <ac:chgData name="Pierre Cavaroc" userId="150eff99-6aed-48f0-b13c-cabd0a4b3ac2" providerId="ADAL" clId="{E623609C-0EF4-4ECB-A655-127E285B354B}" dt="2021-03-21T20:12:36.513" v="3693" actId="12789"/>
          <ac:picMkLst>
            <pc:docMk/>
            <pc:sldMk cId="561314200" sldId="2134803569"/>
            <ac:picMk id="18" creationId="{6BEFB301-5AB2-41B3-AD72-1DC0196FCC30}"/>
          </ac:picMkLst>
        </pc:picChg>
        <pc:picChg chg="add mod modCrop">
          <ac:chgData name="Pierre Cavaroc" userId="150eff99-6aed-48f0-b13c-cabd0a4b3ac2" providerId="ADAL" clId="{E623609C-0EF4-4ECB-A655-127E285B354B}" dt="2021-03-21T20:12:36.513" v="3693" actId="12789"/>
          <ac:picMkLst>
            <pc:docMk/>
            <pc:sldMk cId="561314200" sldId="2134803569"/>
            <ac:picMk id="20" creationId="{50780087-9EB7-4502-873D-02A71D7C7A96}"/>
          </ac:picMkLst>
        </pc:picChg>
        <pc:picChg chg="add mod">
          <ac:chgData name="Pierre Cavaroc" userId="150eff99-6aed-48f0-b13c-cabd0a4b3ac2" providerId="ADAL" clId="{E623609C-0EF4-4ECB-A655-127E285B354B}" dt="2021-03-21T19:14:16.231" v="3411" actId="164"/>
          <ac:picMkLst>
            <pc:docMk/>
            <pc:sldMk cId="561314200" sldId="2134803569"/>
            <ac:picMk id="22" creationId="{AE9BB554-EB87-4A7C-B7EC-5402EFF610BE}"/>
          </ac:picMkLst>
        </pc:picChg>
        <pc:picChg chg="add mod">
          <ac:chgData name="Pierre Cavaroc" userId="150eff99-6aed-48f0-b13c-cabd0a4b3ac2" providerId="ADAL" clId="{E623609C-0EF4-4ECB-A655-127E285B354B}" dt="2021-03-21T19:14:16.231" v="3411" actId="164"/>
          <ac:picMkLst>
            <pc:docMk/>
            <pc:sldMk cId="561314200" sldId="2134803569"/>
            <ac:picMk id="24" creationId="{98B04A57-F089-4138-A284-AB8BBDEA4ADB}"/>
          </ac:picMkLst>
        </pc:picChg>
        <pc:picChg chg="add mod">
          <ac:chgData name="Pierre Cavaroc" userId="150eff99-6aed-48f0-b13c-cabd0a4b3ac2" providerId="ADAL" clId="{E623609C-0EF4-4ECB-A655-127E285B354B}" dt="2021-03-21T19:31:47.620" v="3484" actId="164"/>
          <ac:picMkLst>
            <pc:docMk/>
            <pc:sldMk cId="561314200" sldId="2134803569"/>
            <ac:picMk id="31" creationId="{C5B4264A-3A3C-4818-8E3A-B75146E2A0CE}"/>
          </ac:picMkLst>
        </pc:picChg>
        <pc:picChg chg="add mod modCrop">
          <ac:chgData name="Pierre Cavaroc" userId="150eff99-6aed-48f0-b13c-cabd0a4b3ac2" providerId="ADAL" clId="{E623609C-0EF4-4ECB-A655-127E285B354B}" dt="2021-03-21T19:31:47.620" v="3484" actId="164"/>
          <ac:picMkLst>
            <pc:docMk/>
            <pc:sldMk cId="561314200" sldId="2134803569"/>
            <ac:picMk id="33" creationId="{BA4327CD-8208-4855-882D-8832C8CEDCAD}"/>
          </ac:picMkLst>
        </pc:picChg>
        <pc:picChg chg="add mod">
          <ac:chgData name="Pierre Cavaroc" userId="150eff99-6aed-48f0-b13c-cabd0a4b3ac2" providerId="ADAL" clId="{E623609C-0EF4-4ECB-A655-127E285B354B}" dt="2021-03-21T20:05:56.214" v="3655" actId="1076"/>
          <ac:picMkLst>
            <pc:docMk/>
            <pc:sldMk cId="561314200" sldId="2134803569"/>
            <ac:picMk id="36" creationId="{1F6C95CB-E65D-4A8A-8168-9B8039BE3B19}"/>
          </ac:picMkLst>
        </pc:picChg>
        <pc:picChg chg="add mod">
          <ac:chgData name="Pierre Cavaroc" userId="150eff99-6aed-48f0-b13c-cabd0a4b3ac2" providerId="ADAL" clId="{E623609C-0EF4-4ECB-A655-127E285B354B}" dt="2021-03-21T20:05:56.214" v="3655" actId="1076"/>
          <ac:picMkLst>
            <pc:docMk/>
            <pc:sldMk cId="561314200" sldId="2134803569"/>
            <ac:picMk id="37" creationId="{7B7A77C4-37A1-4701-9A81-F9645D272334}"/>
          </ac:picMkLst>
        </pc:picChg>
        <pc:picChg chg="add mod">
          <ac:chgData name="Pierre Cavaroc" userId="150eff99-6aed-48f0-b13c-cabd0a4b3ac2" providerId="ADAL" clId="{E623609C-0EF4-4ECB-A655-127E285B354B}" dt="2021-03-21T20:05:56.214" v="3655" actId="1076"/>
          <ac:picMkLst>
            <pc:docMk/>
            <pc:sldMk cId="561314200" sldId="2134803569"/>
            <ac:picMk id="38" creationId="{C19D5D0C-280A-4975-92CF-EB22BDBE34D1}"/>
          </ac:picMkLst>
        </pc:picChg>
        <pc:picChg chg="add del mod">
          <ac:chgData name="Pierre Cavaroc" userId="150eff99-6aed-48f0-b13c-cabd0a4b3ac2" providerId="ADAL" clId="{E623609C-0EF4-4ECB-A655-127E285B354B}" dt="2021-03-21T19:49:21.454" v="3586"/>
          <ac:picMkLst>
            <pc:docMk/>
            <pc:sldMk cId="561314200" sldId="2134803569"/>
            <ac:picMk id="39" creationId="{0234CAEA-1006-47EB-BAB3-377B0F6A90C5}"/>
          </ac:picMkLst>
        </pc:picChg>
        <pc:picChg chg="add del mod">
          <ac:chgData name="Pierre Cavaroc" userId="150eff99-6aed-48f0-b13c-cabd0a4b3ac2" providerId="ADAL" clId="{E623609C-0EF4-4ECB-A655-127E285B354B}" dt="2021-03-21T19:49:21.454" v="3586"/>
          <ac:picMkLst>
            <pc:docMk/>
            <pc:sldMk cId="561314200" sldId="2134803569"/>
            <ac:picMk id="40" creationId="{54E20971-2381-4249-93DA-76038360C2D2}"/>
          </ac:picMkLst>
        </pc:picChg>
        <pc:picChg chg="add del mod">
          <ac:chgData name="Pierre Cavaroc" userId="150eff99-6aed-48f0-b13c-cabd0a4b3ac2" providerId="ADAL" clId="{E623609C-0EF4-4ECB-A655-127E285B354B}" dt="2021-03-21T19:49:21.454" v="3586"/>
          <ac:picMkLst>
            <pc:docMk/>
            <pc:sldMk cId="561314200" sldId="2134803569"/>
            <ac:picMk id="41" creationId="{F077AA8F-BD49-4B8B-8AB6-300A4BC4043C}"/>
          </ac:picMkLst>
        </pc:picChg>
        <pc:picChg chg="add del mod">
          <ac:chgData name="Pierre Cavaroc" userId="150eff99-6aed-48f0-b13c-cabd0a4b3ac2" providerId="ADAL" clId="{E623609C-0EF4-4ECB-A655-127E285B354B}" dt="2021-03-21T20:02:51.736" v="3633" actId="1076"/>
          <ac:picMkLst>
            <pc:docMk/>
            <pc:sldMk cId="561314200" sldId="2134803569"/>
            <ac:picMk id="42" creationId="{E72671BC-D571-490E-BAEB-8CD03839B78D}"/>
          </ac:picMkLst>
        </pc:picChg>
        <pc:picChg chg="add del mod">
          <ac:chgData name="Pierre Cavaroc" userId="150eff99-6aed-48f0-b13c-cabd0a4b3ac2" providerId="ADAL" clId="{E623609C-0EF4-4ECB-A655-127E285B354B}" dt="2021-03-21T20:39:53.237" v="3874" actId="478"/>
          <ac:picMkLst>
            <pc:docMk/>
            <pc:sldMk cId="561314200" sldId="2134803569"/>
            <ac:picMk id="47" creationId="{CC8E939A-68EF-4A67-A3B9-462773D9A5A7}"/>
          </ac:picMkLst>
        </pc:picChg>
        <pc:cxnChg chg="add mod">
          <ac:chgData name="Pierre Cavaroc" userId="150eff99-6aed-48f0-b13c-cabd0a4b3ac2" providerId="ADAL" clId="{E623609C-0EF4-4ECB-A655-127E285B354B}" dt="2021-03-21T20:05:26.774" v="3652" actId="208"/>
          <ac:cxnSpMkLst>
            <pc:docMk/>
            <pc:sldMk cId="561314200" sldId="2134803569"/>
            <ac:cxnSpMk id="44" creationId="{38956A1D-843A-423E-913E-098F54886008}"/>
          </ac:cxnSpMkLst>
        </pc:cxnChg>
      </pc:sldChg>
      <pc:sldChg chg="addSp delSp modSp mod modTransition modClrScheme chgLayout modNotesTx">
        <pc:chgData name="Pierre Cavaroc" userId="150eff99-6aed-48f0-b13c-cabd0a4b3ac2" providerId="ADAL" clId="{E623609C-0EF4-4ECB-A655-127E285B354B}" dt="2021-03-21T22:40:36.388" v="5912" actId="20577"/>
        <pc:sldMkLst>
          <pc:docMk/>
          <pc:sldMk cId="3802330194" sldId="2134803570"/>
        </pc:sldMkLst>
        <pc:spChg chg="add del mod ord">
          <ac:chgData name="Pierre Cavaroc" userId="150eff99-6aed-48f0-b13c-cabd0a4b3ac2" providerId="ADAL" clId="{E623609C-0EF4-4ECB-A655-127E285B354B}" dt="2021-03-21T20:21:52.509" v="3718" actId="478"/>
          <ac:spMkLst>
            <pc:docMk/>
            <pc:sldMk cId="3802330194" sldId="2134803570"/>
            <ac:spMk id="2" creationId="{456CAA98-19C2-4531-A084-4B35F7B8D096}"/>
          </ac:spMkLst>
        </pc:spChg>
        <pc:spChg chg="add mod topLvl">
          <ac:chgData name="Pierre Cavaroc" userId="150eff99-6aed-48f0-b13c-cabd0a4b3ac2" providerId="ADAL" clId="{E623609C-0EF4-4ECB-A655-127E285B354B}" dt="2021-03-21T20:31:50.506" v="3830" actId="404"/>
          <ac:spMkLst>
            <pc:docMk/>
            <pc:sldMk cId="3802330194" sldId="2134803570"/>
            <ac:spMk id="5" creationId="{EA3A10B9-0776-48EB-865F-FF61EE29D401}"/>
          </ac:spMkLst>
        </pc:spChg>
        <pc:spChg chg="mod ord">
          <ac:chgData name="Pierre Cavaroc" userId="150eff99-6aed-48f0-b13c-cabd0a4b3ac2" providerId="ADAL" clId="{E623609C-0EF4-4ECB-A655-127E285B354B}" dt="2021-03-21T20:21:36.356" v="3717" actId="207"/>
          <ac:spMkLst>
            <pc:docMk/>
            <pc:sldMk cId="3802330194" sldId="2134803570"/>
            <ac:spMk id="6" creationId="{D037EEB5-6036-41AA-855E-326A8E292CAE}"/>
          </ac:spMkLst>
        </pc:spChg>
        <pc:spChg chg="add mod">
          <ac:chgData name="Pierre Cavaroc" userId="150eff99-6aed-48f0-b13c-cabd0a4b3ac2" providerId="ADAL" clId="{E623609C-0EF4-4ECB-A655-127E285B354B}" dt="2021-03-21T20:29:06.832" v="3786" actId="164"/>
          <ac:spMkLst>
            <pc:docMk/>
            <pc:sldMk cId="3802330194" sldId="2134803570"/>
            <ac:spMk id="12" creationId="{4EED7F5D-8F2C-4880-9101-CFE14C776199}"/>
          </ac:spMkLst>
        </pc:spChg>
        <pc:spChg chg="mod">
          <ac:chgData name="Pierre Cavaroc" userId="150eff99-6aed-48f0-b13c-cabd0a4b3ac2" providerId="ADAL" clId="{E623609C-0EF4-4ECB-A655-127E285B354B}" dt="2021-03-21T20:32:58.431" v="3842" actId="27803"/>
          <ac:spMkLst>
            <pc:docMk/>
            <pc:sldMk cId="3802330194" sldId="2134803570"/>
            <ac:spMk id="22" creationId="{2E8FFA99-D39B-4FAF-B008-27FBD411E16C}"/>
          </ac:spMkLst>
        </pc:spChg>
        <pc:spChg chg="mod">
          <ac:chgData name="Pierre Cavaroc" userId="150eff99-6aed-48f0-b13c-cabd0a4b3ac2" providerId="ADAL" clId="{E623609C-0EF4-4ECB-A655-127E285B354B}" dt="2021-03-21T20:32:58.431" v="3842" actId="27803"/>
          <ac:spMkLst>
            <pc:docMk/>
            <pc:sldMk cId="3802330194" sldId="2134803570"/>
            <ac:spMk id="23" creationId="{CF577919-30E0-46E8-8724-1BBCBF28AF47}"/>
          </ac:spMkLst>
        </pc:spChg>
        <pc:spChg chg="mod">
          <ac:chgData name="Pierre Cavaroc" userId="150eff99-6aed-48f0-b13c-cabd0a4b3ac2" providerId="ADAL" clId="{E623609C-0EF4-4ECB-A655-127E285B354B}" dt="2021-03-21T20:32:58.431" v="3842" actId="27803"/>
          <ac:spMkLst>
            <pc:docMk/>
            <pc:sldMk cId="3802330194" sldId="2134803570"/>
            <ac:spMk id="24" creationId="{931DEAB0-8CCA-491E-A5DA-D791F8DE0AF4}"/>
          </ac:spMkLst>
        </pc:spChg>
        <pc:spChg chg="mod">
          <ac:chgData name="Pierre Cavaroc" userId="150eff99-6aed-48f0-b13c-cabd0a4b3ac2" providerId="ADAL" clId="{E623609C-0EF4-4ECB-A655-127E285B354B}" dt="2021-03-21T20:32:58.431" v="3842" actId="27803"/>
          <ac:spMkLst>
            <pc:docMk/>
            <pc:sldMk cId="3802330194" sldId="2134803570"/>
            <ac:spMk id="25" creationId="{A7142589-4460-41E3-862D-128A03113700}"/>
          </ac:spMkLst>
        </pc:spChg>
        <pc:spChg chg="mod">
          <ac:chgData name="Pierre Cavaroc" userId="150eff99-6aed-48f0-b13c-cabd0a4b3ac2" providerId="ADAL" clId="{E623609C-0EF4-4ECB-A655-127E285B354B}" dt="2021-03-21T20:32:58.431" v="3842" actId="27803"/>
          <ac:spMkLst>
            <pc:docMk/>
            <pc:sldMk cId="3802330194" sldId="2134803570"/>
            <ac:spMk id="26" creationId="{C519049B-E940-47B1-AD06-1B9F89D379C7}"/>
          </ac:spMkLst>
        </pc:spChg>
        <pc:grpChg chg="add del mod">
          <ac:chgData name="Pierre Cavaroc" userId="150eff99-6aed-48f0-b13c-cabd0a4b3ac2" providerId="ADAL" clId="{E623609C-0EF4-4ECB-A655-127E285B354B}" dt="2021-03-21T20:24:50.858" v="3746" actId="165"/>
          <ac:grpSpMkLst>
            <pc:docMk/>
            <pc:sldMk cId="3802330194" sldId="2134803570"/>
            <ac:grpSpMk id="7" creationId="{C7B73481-7611-415F-B2E7-595402C60FCE}"/>
          </ac:grpSpMkLst>
        </pc:grpChg>
        <pc:grpChg chg="add mod">
          <ac:chgData name="Pierre Cavaroc" userId="150eff99-6aed-48f0-b13c-cabd0a4b3ac2" providerId="ADAL" clId="{E623609C-0EF4-4ECB-A655-127E285B354B}" dt="2021-03-21T20:36:10.961" v="3869" actId="1076"/>
          <ac:grpSpMkLst>
            <pc:docMk/>
            <pc:sldMk cId="3802330194" sldId="2134803570"/>
            <ac:grpSpMk id="8" creationId="{A91FFEA6-3057-4A48-BFED-642641BF7190}"/>
          </ac:grpSpMkLst>
        </pc:grpChg>
        <pc:grpChg chg="add mod">
          <ac:chgData name="Pierre Cavaroc" userId="150eff99-6aed-48f0-b13c-cabd0a4b3ac2" providerId="ADAL" clId="{E623609C-0EF4-4ECB-A655-127E285B354B}" dt="2021-03-21T20:36:13.845" v="3870" actId="1076"/>
          <ac:grpSpMkLst>
            <pc:docMk/>
            <pc:sldMk cId="3802330194" sldId="2134803570"/>
            <ac:grpSpMk id="15" creationId="{4B669FEA-800E-4857-9D76-3EEBBD97F994}"/>
          </ac:grpSpMkLst>
        </pc:grpChg>
        <pc:grpChg chg="mod">
          <ac:chgData name="Pierre Cavaroc" userId="150eff99-6aed-48f0-b13c-cabd0a4b3ac2" providerId="ADAL" clId="{E623609C-0EF4-4ECB-A655-127E285B354B}" dt="2021-03-21T20:32:58.431" v="3842" actId="27803"/>
          <ac:grpSpMkLst>
            <pc:docMk/>
            <pc:sldMk cId="3802330194" sldId="2134803570"/>
            <ac:grpSpMk id="21" creationId="{2E6653B1-9D58-4500-A210-4E50C606D5D0}"/>
          </ac:grpSpMkLst>
        </pc:grpChg>
        <pc:grpChg chg="add mod">
          <ac:chgData name="Pierre Cavaroc" userId="150eff99-6aed-48f0-b13c-cabd0a4b3ac2" providerId="ADAL" clId="{E623609C-0EF4-4ECB-A655-127E285B354B}" dt="2021-03-21T20:36:05.991" v="3868" actId="1076"/>
          <ac:grpSpMkLst>
            <pc:docMk/>
            <pc:sldMk cId="3802330194" sldId="2134803570"/>
            <ac:grpSpMk id="27" creationId="{25E11E50-0A7E-4C5E-81CB-74D3CC1A98CB}"/>
          </ac:grpSpMkLst>
        </pc:grpChg>
        <pc:picChg chg="add mod topLvl modCrop">
          <ac:chgData name="Pierre Cavaroc" userId="150eff99-6aed-48f0-b13c-cabd0a4b3ac2" providerId="ADAL" clId="{E623609C-0EF4-4ECB-A655-127E285B354B}" dt="2021-03-21T20:24:56.637" v="3747" actId="164"/>
          <ac:picMkLst>
            <pc:docMk/>
            <pc:sldMk cId="3802330194" sldId="2134803570"/>
            <ac:picMk id="4" creationId="{263FDDF3-BFF4-4288-868E-DC0E1BC52BF3}"/>
          </ac:picMkLst>
        </pc:picChg>
        <pc:picChg chg="add mod modCrop">
          <ac:chgData name="Pierre Cavaroc" userId="150eff99-6aed-48f0-b13c-cabd0a4b3ac2" providerId="ADAL" clId="{E623609C-0EF4-4ECB-A655-127E285B354B}" dt="2021-03-21T20:29:06.832" v="3786" actId="164"/>
          <ac:picMkLst>
            <pc:docMk/>
            <pc:sldMk cId="3802330194" sldId="2134803570"/>
            <ac:picMk id="10" creationId="{7214BCCF-6DAE-455C-8374-13E244103943}"/>
          </ac:picMkLst>
        </pc:picChg>
        <pc:picChg chg="add mod modCrop">
          <ac:chgData name="Pierre Cavaroc" userId="150eff99-6aed-48f0-b13c-cabd0a4b3ac2" providerId="ADAL" clId="{E623609C-0EF4-4ECB-A655-127E285B354B}" dt="2021-03-21T20:29:06.832" v="3786" actId="164"/>
          <ac:picMkLst>
            <pc:docMk/>
            <pc:sldMk cId="3802330194" sldId="2134803570"/>
            <ac:picMk id="14" creationId="{9561112A-A733-4F39-9738-FAC2BD690AA8}"/>
          </ac:picMkLst>
        </pc:picChg>
        <pc:picChg chg="add mod ord modCrop">
          <ac:chgData name="Pierre Cavaroc" userId="150eff99-6aed-48f0-b13c-cabd0a4b3ac2" providerId="ADAL" clId="{E623609C-0EF4-4ECB-A655-127E285B354B}" dt="2021-03-21T20:35:06.185" v="3857" actId="164"/>
          <ac:picMkLst>
            <pc:docMk/>
            <pc:sldMk cId="3802330194" sldId="2134803570"/>
            <ac:picMk id="17" creationId="{9F1F1BDC-83F5-4E25-9518-2F0EE282D693}"/>
          </ac:picMkLst>
        </pc:picChg>
        <pc:picChg chg="add del mod">
          <ac:chgData name="Pierre Cavaroc" userId="150eff99-6aed-48f0-b13c-cabd0a4b3ac2" providerId="ADAL" clId="{E623609C-0EF4-4ECB-A655-127E285B354B}" dt="2021-03-21T20:30:01.796" v="3800" actId="478"/>
          <ac:picMkLst>
            <pc:docMk/>
            <pc:sldMk cId="3802330194" sldId="2134803570"/>
            <ac:picMk id="18" creationId="{4D57DA79-F1FC-4052-B750-028E831672C2}"/>
          </ac:picMkLst>
        </pc:picChg>
        <pc:picChg chg="add del mod modCrop">
          <ac:chgData name="Pierre Cavaroc" userId="150eff99-6aed-48f0-b13c-cabd0a4b3ac2" providerId="ADAL" clId="{E623609C-0EF4-4ECB-A655-127E285B354B}" dt="2021-03-21T20:35:06.185" v="3857" actId="164"/>
          <ac:picMkLst>
            <pc:docMk/>
            <pc:sldMk cId="3802330194" sldId="2134803570"/>
            <ac:picMk id="20" creationId="{2E6653B1-9D58-4500-A210-4E50C606D5D0}"/>
          </ac:picMkLst>
        </pc:picChg>
      </pc:sldChg>
      <pc:sldChg chg="addSp delSp modSp new add del mod">
        <pc:chgData name="Pierre Cavaroc" userId="150eff99-6aed-48f0-b13c-cabd0a4b3ac2" providerId="ADAL" clId="{E623609C-0EF4-4ECB-A655-127E285B354B}" dt="2021-03-21T22:40:24.404" v="5904" actId="47"/>
        <pc:sldMkLst>
          <pc:docMk/>
          <pc:sldMk cId="4042898992" sldId="2134803571"/>
        </pc:sldMkLst>
        <pc:spChg chg="del">
          <ac:chgData name="Pierre Cavaroc" userId="150eff99-6aed-48f0-b13c-cabd0a4b3ac2" providerId="ADAL" clId="{E623609C-0EF4-4ECB-A655-127E285B354B}" dt="2021-03-21T20:38:22.045" v="3872" actId="478"/>
          <ac:spMkLst>
            <pc:docMk/>
            <pc:sldMk cId="4042898992" sldId="2134803571"/>
            <ac:spMk id="3" creationId="{A88C4F15-5F26-4844-A3CE-E57A51BE1847}"/>
          </ac:spMkLst>
        </pc:spChg>
        <pc:spChg chg="del">
          <ac:chgData name="Pierre Cavaroc" userId="150eff99-6aed-48f0-b13c-cabd0a4b3ac2" providerId="ADAL" clId="{E623609C-0EF4-4ECB-A655-127E285B354B}" dt="2021-03-21T20:38:25.869" v="3873" actId="478"/>
          <ac:spMkLst>
            <pc:docMk/>
            <pc:sldMk cId="4042898992" sldId="2134803571"/>
            <ac:spMk id="4" creationId="{2841BBFF-4752-4486-A2EC-DDF8402B3FE0}"/>
          </ac:spMkLst>
        </pc:spChg>
        <pc:spChg chg="add mod">
          <ac:chgData name="Pierre Cavaroc" userId="150eff99-6aed-48f0-b13c-cabd0a4b3ac2" providerId="ADAL" clId="{E623609C-0EF4-4ECB-A655-127E285B354B}" dt="2021-03-21T20:45:26.242" v="3921" actId="164"/>
          <ac:spMkLst>
            <pc:docMk/>
            <pc:sldMk cId="4042898992" sldId="2134803571"/>
            <ac:spMk id="8" creationId="{E8FF8314-56E8-4A68-979B-54E354258490}"/>
          </ac:spMkLst>
        </pc:spChg>
        <pc:spChg chg="add mod">
          <ac:chgData name="Pierre Cavaroc" userId="150eff99-6aed-48f0-b13c-cabd0a4b3ac2" providerId="ADAL" clId="{E623609C-0EF4-4ECB-A655-127E285B354B}" dt="2021-03-21T20:43:34.663" v="3889"/>
          <ac:spMkLst>
            <pc:docMk/>
            <pc:sldMk cId="4042898992" sldId="2134803571"/>
            <ac:spMk id="9" creationId="{0B400699-241C-43BC-B956-02D6AC8A38A1}"/>
          </ac:spMkLst>
        </pc:spChg>
        <pc:grpChg chg="add mod">
          <ac:chgData name="Pierre Cavaroc" userId="150eff99-6aed-48f0-b13c-cabd0a4b3ac2" providerId="ADAL" clId="{E623609C-0EF4-4ECB-A655-127E285B354B}" dt="2021-03-21T20:45:26.242" v="3921" actId="164"/>
          <ac:grpSpMkLst>
            <pc:docMk/>
            <pc:sldMk cId="4042898992" sldId="2134803571"/>
            <ac:grpSpMk id="10" creationId="{C852CB19-EA03-482A-8873-547E38F2589D}"/>
          </ac:grpSpMkLst>
        </pc:grpChg>
        <pc:picChg chg="add mod modCrop">
          <ac:chgData name="Pierre Cavaroc" userId="150eff99-6aed-48f0-b13c-cabd0a4b3ac2" providerId="ADAL" clId="{E623609C-0EF4-4ECB-A655-127E285B354B}" dt="2021-03-21T20:45:26.242" v="3921" actId="164"/>
          <ac:picMkLst>
            <pc:docMk/>
            <pc:sldMk cId="4042898992" sldId="2134803571"/>
            <ac:picMk id="6" creationId="{953BA517-5AAE-4E18-866E-CB9538343A59}"/>
          </ac:picMkLst>
        </pc:picChg>
      </pc:sldChg>
      <pc:sldChg chg="addSp delSp modSp new del mod modClrScheme chgLayout">
        <pc:chgData name="Pierre Cavaroc" userId="150eff99-6aed-48f0-b13c-cabd0a4b3ac2" providerId="ADAL" clId="{E623609C-0EF4-4ECB-A655-127E285B354B}" dt="2021-03-21T20:44:31.350" v="3897" actId="47"/>
        <pc:sldMkLst>
          <pc:docMk/>
          <pc:sldMk cId="3027792131" sldId="2134803572"/>
        </pc:sldMkLst>
        <pc:spChg chg="mod ord">
          <ac:chgData name="Pierre Cavaroc" userId="150eff99-6aed-48f0-b13c-cabd0a4b3ac2" providerId="ADAL" clId="{E623609C-0EF4-4ECB-A655-127E285B354B}" dt="2021-03-21T20:44:15.664" v="3891" actId="700"/>
          <ac:spMkLst>
            <pc:docMk/>
            <pc:sldMk cId="3027792131" sldId="2134803572"/>
            <ac:spMk id="2" creationId="{2A973F53-AAF2-454E-816D-5F70A4A95DA4}"/>
          </ac:spMkLst>
        </pc:spChg>
        <pc:spChg chg="del mod ord">
          <ac:chgData name="Pierre Cavaroc" userId="150eff99-6aed-48f0-b13c-cabd0a4b3ac2" providerId="ADAL" clId="{E623609C-0EF4-4ECB-A655-127E285B354B}" dt="2021-03-21T20:44:15.664" v="3891" actId="700"/>
          <ac:spMkLst>
            <pc:docMk/>
            <pc:sldMk cId="3027792131" sldId="2134803572"/>
            <ac:spMk id="3" creationId="{34269723-AD8F-4CAD-B9A8-41BA6446E707}"/>
          </ac:spMkLst>
        </pc:spChg>
        <pc:spChg chg="del mod ord">
          <ac:chgData name="Pierre Cavaroc" userId="150eff99-6aed-48f0-b13c-cabd0a4b3ac2" providerId="ADAL" clId="{E623609C-0EF4-4ECB-A655-127E285B354B}" dt="2021-03-21T20:44:15.664" v="3891" actId="700"/>
          <ac:spMkLst>
            <pc:docMk/>
            <pc:sldMk cId="3027792131" sldId="2134803572"/>
            <ac:spMk id="4" creationId="{D9DC32E8-808F-4815-9A56-5A36E4D7B464}"/>
          </ac:spMkLst>
        </pc:spChg>
        <pc:spChg chg="add mod ord">
          <ac:chgData name="Pierre Cavaroc" userId="150eff99-6aed-48f0-b13c-cabd0a4b3ac2" providerId="ADAL" clId="{E623609C-0EF4-4ECB-A655-127E285B354B}" dt="2021-03-21T20:44:15.664" v="3891" actId="700"/>
          <ac:spMkLst>
            <pc:docMk/>
            <pc:sldMk cId="3027792131" sldId="2134803572"/>
            <ac:spMk id="5" creationId="{49F6404B-E373-4E5B-B699-6C55D8CB2C34}"/>
          </ac:spMkLst>
        </pc:spChg>
        <pc:spChg chg="add mod ord">
          <ac:chgData name="Pierre Cavaroc" userId="150eff99-6aed-48f0-b13c-cabd0a4b3ac2" providerId="ADAL" clId="{E623609C-0EF4-4ECB-A655-127E285B354B}" dt="2021-03-21T20:44:15.664" v="3891" actId="700"/>
          <ac:spMkLst>
            <pc:docMk/>
            <pc:sldMk cId="3027792131" sldId="2134803572"/>
            <ac:spMk id="6" creationId="{C1654A42-C1CF-451B-88E8-B43F3FD12E65}"/>
          </ac:spMkLst>
        </pc:spChg>
        <pc:spChg chg="add del mod ord">
          <ac:chgData name="Pierre Cavaroc" userId="150eff99-6aed-48f0-b13c-cabd0a4b3ac2" providerId="ADAL" clId="{E623609C-0EF4-4ECB-A655-127E285B354B}" dt="2021-03-21T20:44:29.304" v="3896" actId="478"/>
          <ac:spMkLst>
            <pc:docMk/>
            <pc:sldMk cId="3027792131" sldId="2134803572"/>
            <ac:spMk id="7" creationId="{30FCE775-D8BF-4516-92A1-07C99F78E172}"/>
          </ac:spMkLst>
        </pc:spChg>
        <pc:spChg chg="add mod">
          <ac:chgData name="Pierre Cavaroc" userId="150eff99-6aed-48f0-b13c-cabd0a4b3ac2" providerId="ADAL" clId="{E623609C-0EF4-4ECB-A655-127E285B354B}" dt="2021-03-21T20:44:29.304" v="3896" actId="478"/>
          <ac:spMkLst>
            <pc:docMk/>
            <pc:sldMk cId="3027792131" sldId="2134803572"/>
            <ac:spMk id="9" creationId="{B9BD8FB9-C1DC-432D-ADF2-3802FFB7DF7D}"/>
          </ac:spMkLst>
        </pc:spChg>
      </pc:sldChg>
      <pc:sldChg chg="modSp add mod modTransition">
        <pc:chgData name="Pierre Cavaroc" userId="150eff99-6aed-48f0-b13c-cabd0a4b3ac2" providerId="ADAL" clId="{E623609C-0EF4-4ECB-A655-127E285B354B}" dt="2021-03-21T23:39:04.591" v="6349"/>
        <pc:sldMkLst>
          <pc:docMk/>
          <pc:sldMk cId="3488118617" sldId="2134803572"/>
        </pc:sldMkLst>
        <pc:spChg chg="mod">
          <ac:chgData name="Pierre Cavaroc" userId="150eff99-6aed-48f0-b13c-cabd0a4b3ac2" providerId="ADAL" clId="{E623609C-0EF4-4ECB-A655-127E285B354B}" dt="2021-03-21T20:44:48.443" v="3918" actId="20577"/>
          <ac:spMkLst>
            <pc:docMk/>
            <pc:sldMk cId="3488118617" sldId="2134803572"/>
            <ac:spMk id="6" creationId="{D037EEB5-6036-41AA-855E-326A8E292CAE}"/>
          </ac:spMkLst>
        </pc:spChg>
      </pc:sldChg>
      <pc:sldChg chg="addSp delSp modSp new mod modClrScheme chgLayout modNotesTx">
        <pc:chgData name="Pierre Cavaroc" userId="150eff99-6aed-48f0-b13c-cabd0a4b3ac2" providerId="ADAL" clId="{E623609C-0EF4-4ECB-A655-127E285B354B}" dt="2021-03-21T23:41:22.939" v="6467" actId="6549"/>
        <pc:sldMkLst>
          <pc:docMk/>
          <pc:sldMk cId="3965520164" sldId="2134803573"/>
        </pc:sldMkLst>
        <pc:spChg chg="mod ord">
          <ac:chgData name="Pierre Cavaroc" userId="150eff99-6aed-48f0-b13c-cabd0a4b3ac2" providerId="ADAL" clId="{E623609C-0EF4-4ECB-A655-127E285B354B}" dt="2021-03-21T20:46:07.523" v="3923" actId="700"/>
          <ac:spMkLst>
            <pc:docMk/>
            <pc:sldMk cId="3965520164" sldId="2134803573"/>
            <ac:spMk id="2" creationId="{26504DD2-CE40-4B52-AF1A-5866F4D3AC16}"/>
          </ac:spMkLst>
        </pc:spChg>
        <pc:spChg chg="del">
          <ac:chgData name="Pierre Cavaroc" userId="150eff99-6aed-48f0-b13c-cabd0a4b3ac2" providerId="ADAL" clId="{E623609C-0EF4-4ECB-A655-127E285B354B}" dt="2021-03-21T20:46:07.523" v="3923" actId="700"/>
          <ac:spMkLst>
            <pc:docMk/>
            <pc:sldMk cId="3965520164" sldId="2134803573"/>
            <ac:spMk id="3" creationId="{CBA31E32-64EC-489B-BDF1-CA88E5A77ECC}"/>
          </ac:spMkLst>
        </pc:spChg>
        <pc:spChg chg="del mod ord">
          <ac:chgData name="Pierre Cavaroc" userId="150eff99-6aed-48f0-b13c-cabd0a4b3ac2" providerId="ADAL" clId="{E623609C-0EF4-4ECB-A655-127E285B354B}" dt="2021-03-21T20:46:07.523" v="3923" actId="700"/>
          <ac:spMkLst>
            <pc:docMk/>
            <pc:sldMk cId="3965520164" sldId="2134803573"/>
            <ac:spMk id="4" creationId="{B2F17934-F4E5-41CC-B5A6-6FC3F929B2C0}"/>
          </ac:spMkLst>
        </pc:spChg>
        <pc:spChg chg="add mod ord">
          <ac:chgData name="Pierre Cavaroc" userId="150eff99-6aed-48f0-b13c-cabd0a4b3ac2" providerId="ADAL" clId="{E623609C-0EF4-4ECB-A655-127E285B354B}" dt="2021-03-21T20:47:22.118" v="3935" actId="122"/>
          <ac:spMkLst>
            <pc:docMk/>
            <pc:sldMk cId="3965520164" sldId="2134803573"/>
            <ac:spMk id="5" creationId="{CF1EAA02-7FDE-4EAD-9A58-D12572A316F9}"/>
          </ac:spMkLst>
        </pc:spChg>
        <pc:spChg chg="add mod">
          <ac:chgData name="Pierre Cavaroc" userId="150eff99-6aed-48f0-b13c-cabd0a4b3ac2" providerId="ADAL" clId="{E623609C-0EF4-4ECB-A655-127E285B354B}" dt="2021-03-21T20:57:45.042" v="4699" actId="20577"/>
          <ac:spMkLst>
            <pc:docMk/>
            <pc:sldMk cId="3965520164" sldId="2134803573"/>
            <ac:spMk id="6" creationId="{96279A4E-BE64-4006-95DC-96FFA59AD64C}"/>
          </ac:spMkLst>
        </pc:spChg>
      </pc:sldChg>
      <pc:sldChg chg="addSp delSp modSp new mod modClrScheme chgLayout modNotesTx">
        <pc:chgData name="Pierre Cavaroc" userId="150eff99-6aed-48f0-b13c-cabd0a4b3ac2" providerId="ADAL" clId="{E623609C-0EF4-4ECB-A655-127E285B354B}" dt="2021-03-21T22:32:16.955" v="5660" actId="20577"/>
        <pc:sldMkLst>
          <pc:docMk/>
          <pc:sldMk cId="726576754" sldId="2134803574"/>
        </pc:sldMkLst>
        <pc:spChg chg="del mod ord">
          <ac:chgData name="Pierre Cavaroc" userId="150eff99-6aed-48f0-b13c-cabd0a4b3ac2" providerId="ADAL" clId="{E623609C-0EF4-4ECB-A655-127E285B354B}" dt="2021-03-21T21:29:17.164" v="4701" actId="700"/>
          <ac:spMkLst>
            <pc:docMk/>
            <pc:sldMk cId="726576754" sldId="2134803574"/>
            <ac:spMk id="2" creationId="{4CAA25A7-DA7C-42D1-AF66-A0E1F5708A76}"/>
          </ac:spMkLst>
        </pc:spChg>
        <pc:spChg chg="add mod ord">
          <ac:chgData name="Pierre Cavaroc" userId="150eff99-6aed-48f0-b13c-cabd0a4b3ac2" providerId="ADAL" clId="{E623609C-0EF4-4ECB-A655-127E285B354B}" dt="2021-03-21T21:58:12.202" v="5140" actId="20577"/>
          <ac:spMkLst>
            <pc:docMk/>
            <pc:sldMk cId="726576754" sldId="2134803574"/>
            <ac:spMk id="3" creationId="{71B7745B-A72D-46D1-BCEE-1C5467034BC9}"/>
          </ac:spMkLst>
        </pc:spChg>
        <pc:spChg chg="add del mod ord">
          <ac:chgData name="Pierre Cavaroc" userId="150eff99-6aed-48f0-b13c-cabd0a4b3ac2" providerId="ADAL" clId="{E623609C-0EF4-4ECB-A655-127E285B354B}" dt="2021-03-21T21:42:54.356" v="4769"/>
          <ac:spMkLst>
            <pc:docMk/>
            <pc:sldMk cId="726576754" sldId="2134803574"/>
            <ac:spMk id="4" creationId="{A37AFFF8-80FE-461C-B573-5CEDE0A8F01B}"/>
          </ac:spMkLst>
        </pc:spChg>
        <pc:spChg chg="add del mod">
          <ac:chgData name="Pierre Cavaroc" userId="150eff99-6aed-48f0-b13c-cabd0a4b3ac2" providerId="ADAL" clId="{E623609C-0EF4-4ECB-A655-127E285B354B}" dt="2021-03-21T21:47:45.315" v="4775"/>
          <ac:spMkLst>
            <pc:docMk/>
            <pc:sldMk cId="726576754" sldId="2134803574"/>
            <ac:spMk id="8" creationId="{09DF944E-F195-4AA5-9544-337E0E552359}"/>
          </ac:spMkLst>
        </pc:spChg>
        <pc:spChg chg="add del mod">
          <ac:chgData name="Pierre Cavaroc" userId="150eff99-6aed-48f0-b13c-cabd0a4b3ac2" providerId="ADAL" clId="{E623609C-0EF4-4ECB-A655-127E285B354B}" dt="2021-03-21T21:50:21.247" v="4777"/>
          <ac:spMkLst>
            <pc:docMk/>
            <pc:sldMk cId="726576754" sldId="2134803574"/>
            <ac:spMk id="12" creationId="{CCAF2E19-0C47-4289-BFDF-1C0B98373C27}"/>
          </ac:spMkLst>
        </pc:spChg>
        <pc:spChg chg="add mod topLvl">
          <ac:chgData name="Pierre Cavaroc" userId="150eff99-6aed-48f0-b13c-cabd0a4b3ac2" providerId="ADAL" clId="{E623609C-0EF4-4ECB-A655-127E285B354B}" dt="2021-03-21T22:09:37.433" v="5359" actId="122"/>
          <ac:spMkLst>
            <pc:docMk/>
            <pc:sldMk cId="726576754" sldId="2134803574"/>
            <ac:spMk id="18" creationId="{A8121CF7-AC9B-4C75-BE27-585022CC1E29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20" creationId="{9ABF7CAE-1EA1-4923-B2AE-09E212ED658D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22" creationId="{87F4C024-2054-4338-851A-30563D1B6F76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23" creationId="{01DF63AC-84CF-42C1-9549-0B6ACF3D882D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24" creationId="{7448C7AC-CAA3-49DB-9E1A-453143A9FE94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25" creationId="{FD510177-6E7E-4233-9707-88EC3C630A96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26" creationId="{721B03B0-3E4C-4F7E-8064-93811384B56C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27" creationId="{9D3FA4A1-EE2F-44D2-B54B-57D66B9A2B04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28" creationId="{411E6312-8DA2-4006-A1D0-A8F45E617799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29" creationId="{DFDC5802-6F2D-48CC-874A-81A4900CD69B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30" creationId="{9E636A2A-2348-48F7-B66D-CD2F28A23E3A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31" creationId="{47325814-646B-4982-BBF4-D8E1D77FB310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32" creationId="{070551F5-795F-4C4E-9835-6A56FE9B56D9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33" creationId="{0B2CD858-1FC5-4C28-9E4C-09324D48CE73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34" creationId="{DAB55363-656C-4A2F-8731-B9132F7893DA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35" creationId="{331934EE-AF97-42DB-88A4-8FF2ACCAFD99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36" creationId="{86359132-03FD-45FD-927E-E99F95271CBD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37" creationId="{0D40D76B-FFB4-4818-8A14-E08985EB63CA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38" creationId="{CE4874B2-6B0D-45A0-8457-A8E363464B8B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39" creationId="{0646AC13-5766-4AFE-9C98-DA1BD2D0F35B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40" creationId="{87B55095-F8CC-4918-9F89-2D4D2348FE67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41" creationId="{88C16BEF-7DEC-4BED-92C4-58A86F1B0171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42" creationId="{9E3DDEFF-892F-4D9F-A1EB-317D6A67C5EE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43" creationId="{4B993D65-7649-4CC9-B06B-58E042EB73C5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44" creationId="{5BE1AFE3-C80B-44B7-B5CC-70B909140AC1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45" creationId="{2B06F39E-BE76-48B6-893D-E78C963EE3FA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46" creationId="{0F628AD1-0FF0-4214-B445-F8B5E1AEAC2F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47" creationId="{A842CFF6-F9C8-452C-9803-92F563CA337A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48" creationId="{9081A0FA-4A20-4632-AE5A-A1580C6F10DD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49" creationId="{BFF58973-6752-4BE6-AD57-6993254E9724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50" creationId="{E9583A13-C480-48C4-A56A-19A75E47058A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51" creationId="{2D295711-83D7-4B4C-A28C-EC0ED82F08A4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52" creationId="{B4FE2946-F72E-4359-953A-A4B7465F4174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53" creationId="{B946E54A-3E57-424D-888D-6C780A7ECCDD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54" creationId="{0BF14BF7-A35E-4121-B431-8BB61A33E64C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55" creationId="{FBF2562F-D26B-4877-B4B7-E1DD45DD1BBD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56" creationId="{4D9DD83C-4EC4-4D64-9ABA-042B1AAC9E53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57" creationId="{81880DA4-405C-4CCF-AFE4-C592ED1ADAC6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58" creationId="{E21759A6-B4B7-4DDD-ABD3-B46050170023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59" creationId="{45A49D2D-9F8B-4FCF-9C13-7B5962AB815F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60" creationId="{E44873DC-49D6-45EB-820B-617FA2CBFADB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61" creationId="{04BEAE64-AD54-4D2F-922E-374D5BF5EC63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62" creationId="{A9C2F61E-9CE5-461A-9106-08CEBC631012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63" creationId="{3EF90B9B-9BDA-4C36-ACD7-816B591BBB2A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64" creationId="{789245A9-E97F-4CFD-B899-4975CD00C4C5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65" creationId="{D0DC5F97-7B83-4E28-9B54-835F99219A38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66" creationId="{1C008D5D-A4F9-44A4-94FA-E5BC8090F22B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67" creationId="{EAC2B923-4489-411B-BEF4-ACBE5183F63D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68" creationId="{DCBEE09F-C0C7-4B89-8D23-01DFB714B26D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69" creationId="{F70A6648-3CC1-4A41-A754-4BAC43CCEBAA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70" creationId="{973E75B6-F0D2-4243-A590-DAD90B33D6BA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71" creationId="{92B2AF02-604E-4A08-AF71-43E238885433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72" creationId="{F72D55F9-EC66-4282-A4A5-16F4FAE955B2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73" creationId="{82265F5B-A659-4281-99F5-3EFDF709F551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74" creationId="{C9F0EC8B-C9FB-4367-9933-AD978EF8921F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75" creationId="{D22FDB59-79D3-427B-A95B-7407E57FFA63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76" creationId="{317D26A9-5579-4AF1-9521-A14461AC44F1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77" creationId="{7491BA9E-4596-4C12-96BF-D3248F9D0E32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78" creationId="{14CA7E64-C0A3-4F58-B4CF-57BFE1F18560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79" creationId="{E186269D-FD09-4D26-88FA-C62736B59F0B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80" creationId="{6CF5CF05-15A4-4524-833B-07B3F5BDDAD6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81" creationId="{4140A9E6-3DBC-440C-BAAA-A937BC0FEBF9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82" creationId="{496E19C3-E335-4CB9-8709-ED4E4CD797DB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83" creationId="{348F2D04-2AC6-4B52-8CB0-EAADB4767517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84" creationId="{A23A8398-4AE6-4377-B753-33EC64AC9133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85" creationId="{6DA1BE5C-B893-4308-8A5E-1E7847C7581E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86" creationId="{805B7012-23CA-413F-A67F-C09AF4826360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87" creationId="{890D61D1-8E83-48DD-B061-827CAD99B7BE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88" creationId="{96C7FD29-D4AF-499B-B09A-FC60BAB8AFFA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89" creationId="{C3AF9AF8-D9A1-490B-A4D1-B2FDA756016A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90" creationId="{77C3DC98-829D-496E-8A24-122D73798149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91" creationId="{E649DCB4-3AB0-49DF-A1E1-6F7DEDAC3194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92" creationId="{4C6DD4DD-ED4F-4BA1-821C-A58D437B25E6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93" creationId="{2552A564-790C-4F4A-8621-5EC017B08767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94" creationId="{AECD1CEF-A35F-49DF-89C1-6486ED41866A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95" creationId="{ADF9F509-01F0-44E1-AB3B-1D1B03F46944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96" creationId="{F532923C-A421-4D52-8DEB-F2E2B39B8FFD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97" creationId="{8D09D825-9ED3-4B1C-861D-2306B2AFFABD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98" creationId="{51D8CDB3-22D9-4B40-B884-37E7446908A0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99" creationId="{6C7B734D-43DD-4045-A154-B0E86F286EAE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100" creationId="{DB12236C-2743-4BA6-ABBE-E9AD6EB53782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101" creationId="{20E252A4-DD0E-4FD3-857B-9233A8EBEDEF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102" creationId="{AA559C16-9462-4267-873C-3A732365C341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103" creationId="{36027D46-48ED-4956-947C-31FBF035B6B3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104" creationId="{E7222500-F288-4F1B-BB0D-231CCA0A94EC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105" creationId="{F746DA17-C3CD-4CBB-B7DF-66C166B84839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106" creationId="{2198F059-B480-4460-B947-EFD123A72E8C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107" creationId="{EBCF5540-8B67-492D-9CEC-45AF12CCF420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108" creationId="{E7C5CF6C-B619-4C50-A5DD-142D60CA45A3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109" creationId="{5446CF23-B04C-4469-8758-A883F057960A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110" creationId="{EC20705B-CCF6-4A92-82EA-E9345670AA52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111" creationId="{C2C0FF66-E0AC-4834-8DF0-882634EA00B1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112" creationId="{D60CD374-F794-4F53-9964-002409DA0EA1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113" creationId="{190F69F2-A46E-4EDF-9D45-2A296513FC42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114" creationId="{4E202029-9903-4DF8-9663-2D5817F44D22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115" creationId="{DBB69B68-FC09-47F8-A16E-3377089554CB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116" creationId="{9EC23E8F-A222-4A6C-86F7-CAE6E5302000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117" creationId="{2CAF9462-4FD7-4E4F-9B2F-523FB59F981F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118" creationId="{A9FC916A-4161-4549-8FEC-75D190F8458F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119" creationId="{12AC3E38-1305-4DE7-AA45-751324C30158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120" creationId="{97A93139-03F3-407E-8ADC-AC3B083E3A21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121" creationId="{202D26A3-6FF9-4E46-BDF0-9B754ABAA49D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122" creationId="{F41AB0F2-7335-4633-9A7E-A68E1262FE1A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123" creationId="{E21FC009-8BC6-4A82-872E-70C0ACBB70C2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124" creationId="{AD5B5D6A-F4E0-4E53-AB50-6A72A037856F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125" creationId="{A9E06A81-BAFF-4E38-96F5-9E46898FD8ED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126" creationId="{A0B109D7-4301-4F77-953F-1261D87454EB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127" creationId="{4BE8DCFD-ABF0-4952-B92F-4455D48D5375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128" creationId="{AB2372C6-C564-4CF2-A49D-E6FEFC1C90E4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129" creationId="{AE894012-611B-49D8-9035-2B2DF73D6DB4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130" creationId="{47755F64-077F-41BE-9017-C24A8A6A4714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131" creationId="{3FE5634C-4BB2-438F-BAAA-799B001050B4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132" creationId="{50BAC414-4AF4-4532-A248-280B2D49DE3C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133" creationId="{911406ED-08F5-44AF-9798-3B118A9EBAD5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134" creationId="{FECB36CB-E622-4CF3-9AAA-7D33F46660EC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135" creationId="{E11DB89D-73F7-4865-8D75-0A7407EE585D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136" creationId="{E95E56D0-D4BF-4640-A73D-7E66499A983A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137" creationId="{5FE3D198-CC68-43F5-9F66-7E28ADC7D611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138" creationId="{E2CF2D30-0646-4D66-B263-1A6FACA966D6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139" creationId="{CE3655C6-8462-4EC2-9D96-BED580C2CACE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140" creationId="{B78CDCB5-FE87-4E95-8384-61A3B2A55229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141" creationId="{5E0F751B-B403-4E18-92A0-55DA29C5B5B8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142" creationId="{DB83608F-BA05-40A9-A29E-1F4369C7F880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143" creationId="{895047C0-66A5-4C62-B521-F8D3DBD0932A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144" creationId="{BE4A7B6D-C095-4C81-A422-E548D91832CE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145" creationId="{F7B192BC-E75D-4399-B77A-5CE008ADE43D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146" creationId="{CBA264B5-A678-4636-BD11-345D09CC2849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147" creationId="{77D82C99-1ECD-41CF-9856-704058B6910D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148" creationId="{B042DD4D-7726-48B3-940E-B5CF77B3F4EE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149" creationId="{9D807329-4AF6-40A5-BADF-4285D6B02F7B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150" creationId="{FED424C5-CC44-4557-A307-288D1B8DAC64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151" creationId="{546D0EC5-843E-40D5-B2E2-604863378EB6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152" creationId="{FB5078DD-3265-43B9-8C09-F35B5088CD09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153" creationId="{DD40A9DE-D3E8-4B73-9A4D-F06F42896F97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154" creationId="{C26D11BF-44B6-463D-B0D0-C39912B141F1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155" creationId="{F3BDCCFD-3BB3-485B-9D33-87DB5A4F3518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156" creationId="{B404876F-1E24-4C89-A072-EB62DE041CED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157" creationId="{3D6F8033-6F3E-4B49-B0B2-1C5090AF5759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158" creationId="{B604CE84-CA00-45EB-90CA-A719B826AB35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159" creationId="{B4BD26E1-28EA-49EF-A58E-A928747CAA5C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160" creationId="{E4F81D62-B939-4209-96F9-C18E2BCF96EE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161" creationId="{4467BB24-AE49-4656-A45A-8766862E4C9D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162" creationId="{7499CAAF-4C43-47B1-8167-0130E6795453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163" creationId="{229B2551-DDA8-435D-B5F7-4F73ABADD572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164" creationId="{CF57AB46-7E9F-4D38-9352-8B81114A92FE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165" creationId="{B2B62CF2-2905-439A-BD55-F608F896E223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166" creationId="{A680EB61-862E-4F80-A286-62CB782B8F13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167" creationId="{FB39B21F-5110-442F-96A5-4C19460E2C03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168" creationId="{8824D2FC-4DB4-4F6C-9EA8-ADB0260E848B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169" creationId="{25E3E596-4E10-44A1-A5BE-87EE85E6A843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170" creationId="{9299A89B-17E2-4BCB-AE1B-3F54C104904E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171" creationId="{8E64E00C-FF5E-4CB9-88DE-D2C62AE623C9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172" creationId="{E080FB00-00CC-4095-86C6-429BFEFAF0CD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173" creationId="{E27F0AC9-FF8A-463A-91EE-6A229A1D9B53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174" creationId="{18A91182-D2F2-4386-BE78-FF45222B185F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175" creationId="{9CEFCD8E-04C9-450A-87BB-58D38001C2AF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176" creationId="{D540B2DD-E1FB-4789-8165-91D0E6538BC5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177" creationId="{B6FDE7D8-68C9-45B6-8909-5688080EF439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178" creationId="{718544FE-1698-4EF5-8479-7FF17CBB2FBC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179" creationId="{9123A5CC-7692-4895-AE5A-B8F0F5DD9998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180" creationId="{6017D92D-E30E-43AB-97B8-390CC7BB4E78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181" creationId="{C8298893-8452-4FB6-82DB-46BEC26EE6DF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182" creationId="{79F4E7AD-AC85-4F0A-922D-3F15FA9FC705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183" creationId="{FE8756C8-0D2E-4B57-8F3F-DEE68C037D67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184" creationId="{40FC65E7-D63F-4DD8-9605-5B3639836384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185" creationId="{F98E52D5-76BB-4455-8ECD-5DDDF05CA6AE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186" creationId="{B263EC10-EFEA-4966-97B3-3991F117E2DF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187" creationId="{2D0DADB9-26E4-4B64-85C5-DA09EE78BEA0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188" creationId="{02B21F96-A057-488B-BED9-5E4E9DF9A982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189" creationId="{B20FDC2A-4079-40BC-9ABB-1A4F0FD2A38D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190" creationId="{FEC4C68F-D547-4B50-B9FE-BAEACB2A9DD9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191" creationId="{1AD7816C-D916-47F0-A10F-399667C2A5BE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192" creationId="{C5C0EE40-6075-4F2F-9FEE-C175D3B8F29F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193" creationId="{30BE525B-FA5E-4105-9178-F833314AD621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194" creationId="{E96135AA-B561-4A44-9C51-2FD9ED3252AD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195" creationId="{DF349249-8AA5-40FE-A623-5EA1BD5A2EB1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196" creationId="{4EA6687F-2C4F-40AB-9C9A-EC6C2BB2B204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197" creationId="{E12C2E5A-94D6-4CA4-B69A-DB580ACE39AA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198" creationId="{587F18CE-685D-4B0B-8822-BDF921DA131D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199" creationId="{C9814CD2-CF70-4F5C-BB87-21BD4F336837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200" creationId="{755F8DA1-9B5B-445B-9915-D22105CCDE8E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201" creationId="{450829CB-5A42-4FE9-80B2-104D26EAD226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202" creationId="{B4965550-D159-4929-BC97-250C75035278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203" creationId="{D07FC278-AF17-449E-BEF6-18A4C57DCD87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204" creationId="{C2F26D31-E71B-4048-9395-499280A6DF43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205" creationId="{829C9995-31DC-4DE6-AA27-0732B097F40B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206" creationId="{9FF9E928-D92F-47C4-97EB-45C593451424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207" creationId="{38115823-C132-4B53-9ED9-6D26D792ED4C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208" creationId="{74EFA7FD-C5DC-4F27-A9F0-158AD8D7A4B4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209" creationId="{991594E0-7882-4BA6-9896-330DCB6ABAA4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210" creationId="{D45F56AE-FCE8-408F-A56C-8651315E2B1D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211" creationId="{B2E8B377-1345-46DD-8CFF-E323C3F38C8D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212" creationId="{800F929E-5132-46EA-A3DA-9B404BE4D64B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213" creationId="{59D65D69-C697-4328-B4BA-4A3833D247FE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214" creationId="{BF82050D-AB4F-4B52-8BC0-896F9A15E6D9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215" creationId="{C8AC9D8F-4C6F-4928-B0F2-10DC3689A85D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216" creationId="{1089B730-DFB4-44EE-B8AA-D8243BE808BD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217" creationId="{4D5BC0DD-F10E-461D-88FC-B9AA1C8ADDC9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218" creationId="{E97D7FF8-4F8D-4584-8DC0-571FD7B174FC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219" creationId="{E6F1629B-1262-42B1-9AE6-DFFAAB3B155B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220" creationId="{CBD04B61-059F-44C1-AF63-989D60E79FDD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221" creationId="{119D7197-9128-4D6E-9219-E971DE886E43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222" creationId="{436C6260-89E5-4BB7-A357-D9BE6D77CCF4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223" creationId="{09781784-949D-4B28-AEDA-6955882E7617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224" creationId="{78BC8DBF-4D06-47A9-9C23-A40877B9AAF8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225" creationId="{2504BDF2-712A-4E5B-A8E5-7A696E17719E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226" creationId="{4E21344E-3A91-4ADF-BEA9-1B7DBD6F5369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227" creationId="{50DC571A-0E8C-4ABB-854E-7B9723308791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228" creationId="{98B33FBB-E7E2-4799-B840-AC28829F3760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229" creationId="{2C1F1CEA-3E49-4F0B-84D2-6F598F532E22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230" creationId="{E621F15B-AF43-4076-B971-5ED40869FCB4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231" creationId="{B4BA1B0B-4815-4417-B094-A02D0B3775A3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232" creationId="{0D7F4964-AFD2-4316-9007-A175139FB1A1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233" creationId="{5899EFD3-E67C-4DA8-A85D-C95903B84B36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234" creationId="{3BE17DCE-9939-406C-B384-11360FC0452A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235" creationId="{DDC1C640-306B-4551-B893-2C7B0340D236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236" creationId="{8FA60762-A72D-4AC9-A7CC-246027215DC0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237" creationId="{C6268940-BB6C-4C0D-B7D9-8BFE96F6A3D9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238" creationId="{F6298DFD-8A50-4DB2-9792-58169AB7FEB7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239" creationId="{C83C246B-E90C-44C6-A5CD-795413DE6C12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240" creationId="{9A31B618-76B7-49F1-A786-C412A9740CEC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241" creationId="{CE19AD2D-3C51-4166-86FC-65354F416FC7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242" creationId="{D2FECA02-C09B-45A3-9623-4EE9F068B939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243" creationId="{6C6865EB-3112-44C6-8831-39A8BE8F3561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244" creationId="{DA6EB85D-5F72-460B-B57D-FDA98FEFDBAF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245" creationId="{CF7BBEE5-057F-424F-AC84-AEB2FE99D2BB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246" creationId="{124768F5-BDD7-4C10-BCB6-B3B3D38DC753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247" creationId="{2ED288D4-72F3-4AC1-8A76-DF3F0E019192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248" creationId="{BD0D0525-C492-4010-A6BF-930127BCC4A8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249" creationId="{7BB9FB41-2DFF-4276-A101-6FA2C1C8215A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250" creationId="{65B7DDBC-5DC2-45E0-B116-C7E2EC9DBA22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251" creationId="{18204D01-F1AD-4077-961D-E86971BE0811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252" creationId="{4D7E945B-0F11-4F46-8924-3F2C8926CE60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253" creationId="{85F20AEB-CD7F-4E3D-99B2-EF1C60B421FA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254" creationId="{32AF455F-E7B7-430A-A979-3AF44FF0B320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255" creationId="{994AF700-D6BA-4FF9-9F62-3D46E644558A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256" creationId="{ABBEDE18-B16B-43A7-B9EC-1CEC4650DD0A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257" creationId="{F8C5177C-F6CB-4ADE-97C1-F784062FF282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258" creationId="{0A78DEAE-1732-4735-BBA1-F75AD7CFF4A7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259" creationId="{69D16B74-4A08-4403-95EF-B392B6086FF6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260" creationId="{9A67FFBF-FD52-46D9-9A4D-CF8E144AB1E2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261" creationId="{35AD9255-FEB8-4588-A12C-BEF0C1540DA0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262" creationId="{5345EC24-AA7E-4DC6-8F47-D78AA9EC4E1F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263" creationId="{D8363617-8C87-490E-BD89-8A13ADE980A8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264" creationId="{5B7F6F04-DF96-4EB5-93B1-748C91D5BE27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265" creationId="{9D0E69D7-5DF8-4CE2-9EF9-F1021D8FA662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266" creationId="{6071288A-B323-4172-BF3F-749073212A4A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267" creationId="{F82B9270-F1A7-4444-88A7-591D0B5AEAF3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268" creationId="{5E5D77DB-1320-4A91-B0DB-D99181BEDF85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269" creationId="{FFD93A4C-6794-4773-81C0-5E6168272B43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270" creationId="{2444A55C-8391-479E-9822-4F4C844BBE91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271" creationId="{5DFF03B8-D22D-4AB4-9599-BF4DAD37B7F3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272" creationId="{E1CFF0C1-FC31-4FE4-8D79-D8608EA5587D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273" creationId="{8934F052-8CD8-457F-8D8E-4DFEC51C7F32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274" creationId="{A08ED9C8-DFC4-41C5-8936-462DB832F034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275" creationId="{3D30A488-F487-450F-9E4D-633C22558A7D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276" creationId="{A89725DC-A738-48CB-A0B2-6BEECA0C6DA9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277" creationId="{EDEE9079-7C32-4BC1-85CE-326FAA0C5497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278" creationId="{167506FF-E75E-474E-A143-2621CCD5F309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279" creationId="{DD44020A-2660-47E9-A5A5-4DED0D196E81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280" creationId="{A79A1D19-5322-4ABD-A543-5C584321008C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281" creationId="{8AF18E25-86E8-4163-AD73-24EB0926B7F1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282" creationId="{64CE49CD-D61D-46A5-A8E2-B9D147C9CFCD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283" creationId="{BC3BC9EC-E05C-4C08-AD16-B46CD63764B1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284" creationId="{84855C23-51DE-4B9B-8199-496B67F9937A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285" creationId="{E2A11124-3A64-4F2C-B45D-8619CBC20A57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286" creationId="{AFCEBB3F-4BDD-435D-9861-ABF2CBE68B5D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287" creationId="{66D6D062-B407-4AE3-B0FA-0B2D42477BC0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288" creationId="{832ED714-E8EC-4335-9574-3BEBE3037E7D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289" creationId="{A82E63D2-5BE7-474B-A656-CFE366E6D9A1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290" creationId="{F9DB301B-6B0D-491E-9296-D68054A1720C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291" creationId="{94CC7562-DB2E-4CA1-8365-7BC3B9415ECC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292" creationId="{D67F4B97-0AB2-4E4A-BA0F-B0EA4FB9E18A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293" creationId="{F1122C59-8B9F-463C-989D-E161F784C250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294" creationId="{5A9B174F-CC53-4FFD-87ED-C4ACCE45EAAD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295" creationId="{7E0F4B83-AF2A-4CCF-AE18-BD4A3BADC46F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296" creationId="{F265F546-A303-4A43-B77B-743CC3F3FA48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297" creationId="{0F923921-59E3-4243-97FC-43D40D397656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298" creationId="{B6F12726-3DD8-440F-8907-34AF559FEEA7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299" creationId="{C86889C1-F9BA-4A31-9143-E6B4E6A2C1E9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300" creationId="{3E72BC2B-33BB-4993-AA48-3F1FB676228F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301" creationId="{8FDEBC66-2CAE-4C84-BD88-E506232FDE49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302" creationId="{A0B7B74A-8769-4306-A85B-5E7340D86948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303" creationId="{5F7BB36B-AE26-4C5B-9E34-49183B6FAF38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304" creationId="{410CC063-6F9D-49D6-A442-715B0016383F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305" creationId="{BB781F21-4AEC-4AB5-946B-A00EBB2E5CCA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306" creationId="{216EEC78-649A-4365-932B-EBD611EEE00E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307" creationId="{BD9BC7C0-FFF1-4F46-98BD-0F666712E4E4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308" creationId="{9B9B3AC5-75E1-4941-817E-34CF4F3A0B52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309" creationId="{185460E5-F2FE-42DD-BFB0-9C4A6B82753F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310" creationId="{559A641A-4072-43F9-AD5B-6907B2C74BD4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311" creationId="{A52FA3C4-846B-4B39-9022-A31FCA446C76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312" creationId="{99C2AC9A-C6CF-4594-8133-6447303496A0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313" creationId="{B865EB46-0DDF-47AC-A21B-285FDDCE254F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314" creationId="{A6848860-159F-4E7B-9A75-15D4A31DDB74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315" creationId="{7B96FD36-F692-4AA6-8073-FA0B055BB6AD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316" creationId="{173E5F60-52EB-4B68-910F-2BBD44BE9220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317" creationId="{2B913C96-106B-4038-ABBF-B5AA00A87EA2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318" creationId="{5A600762-BFAC-4CDC-B547-3D276F173B6F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319" creationId="{0844D81E-ED67-4860-AC4D-ED46C2D86419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320" creationId="{EFE5D988-0EF6-4AA4-A0C7-59E57A7B194D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321" creationId="{07246051-5380-4CF2-9B1A-CFE5EDEDCFC9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322" creationId="{2FA33D3B-C056-4CA4-8FE5-596295F7A2C0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323" creationId="{8D4F87AD-556F-44C7-A15F-490C70E88A2C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324" creationId="{FEAF3BFF-7728-4276-A08E-2E2DF341B5D2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325" creationId="{5670427E-BA70-4B47-B21C-E9403394C79F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326" creationId="{DA54D8AE-9580-4A94-9181-B0C7EA09EF6A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327" creationId="{82E6F294-B074-42E4-8B68-9FBB19410EF0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328" creationId="{E3404AA5-D182-4344-B669-5105AE415D92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329" creationId="{4B1F66D4-6E7C-4FFB-8E28-C810CE47F7EC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330" creationId="{FB092753-81F0-4797-8F60-6A21113E6752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331" creationId="{F543A905-0D7D-4774-ABAC-EE20389FE7BC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332" creationId="{B3016A5B-AFB8-4A6D-AD2B-8559366B778A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333" creationId="{457BC9E1-11B0-4B73-BEFC-4BA2E50CA154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334" creationId="{98CA352F-08AE-448D-AB90-A418F8FE32EE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335" creationId="{35919F2B-3EEB-4A74-B27F-23C062F8FD7B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336" creationId="{5DD218A7-81C1-4384-9459-2F996D3D4287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337" creationId="{507253E4-62F9-4E36-B78F-141DA3594293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338" creationId="{F41D7FDE-A0E0-483C-B09B-0BBFB9F3FF7D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339" creationId="{2AFFED8D-8AF8-471B-AB59-DE68632CFFD8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340" creationId="{414705DB-3CF5-4604-834B-E73427DA8C8E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341" creationId="{2E2E906A-4825-4DF4-9634-93FB12D0F078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342" creationId="{99D1FAAF-0A79-4353-B443-4EE1C11292D1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343" creationId="{A12CB31A-4F9B-43B8-AB17-4782E8F37666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344" creationId="{3435C7D1-2009-4343-80CF-D335F4006700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345" creationId="{BFFB73C6-050C-44DD-9C87-9D2976A71265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346" creationId="{DE46BA51-5B62-4704-802A-008656DED350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347" creationId="{6FFD9627-07F8-476A-B852-92C9542C673F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348" creationId="{B78C83D2-2E08-47E1-B766-2D6E780BE50E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349" creationId="{318AEFBD-DA60-4E7C-95B3-137A4BD393B9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350" creationId="{715E23DD-C961-402D-9067-61A04FBF5B56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351" creationId="{07FF258F-9AF6-47C1-A050-2CF7084DE550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352" creationId="{2F9FB5A8-B6F5-4DEC-A545-74B29B6A9E3E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353" creationId="{31B03A4A-C334-4F2E-91F7-5D54E568AA80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354" creationId="{83204E01-4C9C-4FF9-8938-4A5BECF206D2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355" creationId="{E0F381B7-FCF1-4E50-BE30-D15D219EF780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356" creationId="{20C210B3-DCA6-4BFD-8300-4373BBE5655D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357" creationId="{B3C91DCB-6EA8-4CE5-BBF5-8F89EA413E45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358" creationId="{17D9DE23-B644-4648-8283-01536350D4AD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359" creationId="{536749E2-5B0E-483C-9311-1E31985A6DA8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360" creationId="{327E2287-AD6B-4A48-8294-A8B67AD9367E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361" creationId="{0B1C8074-F4E2-463D-9398-A065F7A9FCCD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362" creationId="{949316BB-4E1D-4347-BBB8-ECED264C1CB3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363" creationId="{C817310A-B33F-4119-A816-8EF9031A9910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364" creationId="{FB010CF2-1F5F-4FDD-BFF3-52E4220DF656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365" creationId="{2311BBBB-9AE0-41B6-ABEB-80328E0CA122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366" creationId="{1C66F5BD-2317-468C-86D4-50D543088338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367" creationId="{F416D7E5-BA5C-4819-AB7B-3A0A196E90CB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368" creationId="{B2CADDAD-5973-4B56-95D4-BC5E402DB87D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369" creationId="{4E5BE240-4415-43E2-8D0E-FF81E2492227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370" creationId="{9E2C41E0-AB44-4EDC-A6A8-5819E0B5B447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371" creationId="{4BCF6A1F-58C1-49C4-8217-40816FE92C20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372" creationId="{5D95A05D-96FE-45D7-8854-862D4FF8513D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373" creationId="{EEB1FE7D-A379-4C1C-AEC3-27F80776C719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374" creationId="{B43651ED-712A-4768-B511-78A4EB2DAB0E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375" creationId="{BD10ADFC-694E-43FD-A7E8-79BBDD3BDA8B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376" creationId="{A5289951-CB68-4CC9-B494-282AAC88EBE6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377" creationId="{37E7F3A6-CD66-46B7-BB85-C121EADBA1ED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378" creationId="{6EB1A5E6-F328-4D2B-9C6D-819102C3A058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379" creationId="{8C5081B5-B499-4BE9-9148-EA0D1F2B7D07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380" creationId="{D142500E-CC41-4C1B-A45B-DCD0C4EA5EF3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381" creationId="{7A85417B-3C62-45E2-848C-D299FA5D3C87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382" creationId="{50DB8731-DD47-48D6-B3B1-56FC5FDF772C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383" creationId="{D09B881D-9F37-42FD-B25E-1A87B02BB461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384" creationId="{CB0EE145-A68F-4341-B5E9-235497257541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385" creationId="{3CC9F303-1CF5-4602-A546-460AC44C4FF4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386" creationId="{B38F421E-B637-40A4-A38E-0A802CF0F033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387" creationId="{0ED535B1-63FA-461B-9EF2-AA62D8875D8F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388" creationId="{81882404-6C41-4327-9C1F-0D07FD82E8F2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389" creationId="{BC5C9F5D-58AE-475F-B5F1-8A670E2809CB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390" creationId="{3C94E3F7-E68B-43FB-B6B6-E7796A28EAC2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391" creationId="{2DF64E9D-41ED-4645-AD48-2030D69314E1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392" creationId="{641739CE-3D5C-4535-9E74-6FA6B8285B19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393" creationId="{4BF16269-DA60-426B-BED6-E88CA8E6DF47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394" creationId="{237B2119-7BEA-4C3E-9E71-45BA42C39150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395" creationId="{DE0C90B1-373C-4B91-A3C8-E2CE129CA285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396" creationId="{97BDCC76-A310-4C0D-BDB9-E4BA0F9474CF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397" creationId="{1C709AAA-6D7D-45CC-9312-695557932F3E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398" creationId="{A99DEEBA-9494-4BB0-981E-073BA73DDFC7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399" creationId="{EE4B0D25-6EBA-4E6C-B9B5-6BB3E94C0A27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400" creationId="{203E7E24-A984-45FF-BACE-699997896C3A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401" creationId="{CD4EA7AF-F148-45A3-92B8-2942736A9719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402" creationId="{EFC81CE2-508B-44F3-B7DC-FF1DB6905EA1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403" creationId="{0DF157BD-2412-4390-9F12-917AE4EA90B1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404" creationId="{F980BF19-0471-4C62-9D24-EB3E0FCF9B1C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405" creationId="{8C361526-98F5-4C2F-B60B-8E1FC0BAEB55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406" creationId="{A61A5912-A6CD-4E63-9FE8-0E4B81B25B47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407" creationId="{7437DC56-B1A6-4776-BFA8-46B920DB59CA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408" creationId="{3167ACB6-4E79-46A1-95FD-14B99ECF1524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409" creationId="{3F8672D9-A88F-4682-9E62-2B0CE19112E4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410" creationId="{03F4D14A-B67B-4C1A-B96C-DFDF9D5C075A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411" creationId="{CC1C6910-4D02-4C76-B31F-F01BE0A0661E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412" creationId="{F1C2D31C-8741-4185-8D16-33AA6EC1F327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413" creationId="{370B6FF5-91C0-457C-9527-CA679D28DE78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414" creationId="{F8EF701B-78D3-4629-89FD-4C2EB4671883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415" creationId="{6786A5DA-B75D-4FFD-B92D-B2D336C6FB8D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416" creationId="{697CDD9C-3D09-42A7-9C80-4AE36EF33776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417" creationId="{F9CE39C2-198D-4BF2-BD33-8C8AA63D5AF8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418" creationId="{EB408BD7-CAF0-4059-8563-8D3557D35441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419" creationId="{DE56A984-828E-47E2-8211-630A17610D29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420" creationId="{CD5C7801-EBCE-4EFB-AB1C-2F82EF7D975C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421" creationId="{F4782C4F-A1D3-4F2E-800D-DB51E0C05DFF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422" creationId="{A4B4D00B-5916-42B2-BE5C-444E01497F4A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423" creationId="{09C21C1F-2220-41DE-B244-BF729AD2F607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424" creationId="{795B6722-FBA0-4201-95BC-B76B746FF5A0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425" creationId="{B434E3CC-054E-4F28-A878-5875B045DEC9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426" creationId="{A6B2519F-2AE9-4162-963E-E7040C19FA57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427" creationId="{F58A7EAD-8748-416B-96C7-4731E899518D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428" creationId="{5CDBE50C-B37B-4C1E-A8EB-A883179B8B7C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429" creationId="{36B62C4F-A0C2-4D6C-B894-785CBED9657C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430" creationId="{76219209-D97F-4B5D-A5AE-D11880932AA1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431" creationId="{82A53F84-D4BE-4A9D-A8F7-1A014345CB6D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432" creationId="{BC9DFE46-3D29-4578-832A-7292EF2D9677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433" creationId="{5AB7C028-38EA-43FF-B7F5-8F73C05364FC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434" creationId="{5BC523B5-6DB9-4805-B0BC-028D373ECA1E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435" creationId="{3725BFD5-142E-49BE-BF29-78D44A5F7321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436" creationId="{6131FB37-A055-42FB-9F2C-99C4076DC615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437" creationId="{CBB32121-26F9-42A5-BA15-339CC697F555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438" creationId="{57A0DBA5-24B0-4E44-ABF8-BED45DDFBD90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439" creationId="{F42B0CF1-F621-44AB-BA1B-43953F4D5F56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440" creationId="{DB6840B7-F2AC-43BD-B4C2-E3CF56FEAC7E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441" creationId="{A957C694-E903-4343-BB93-41BD8445183F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442" creationId="{09C08790-8B00-48B7-86BE-2D9C7E8EDF35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443" creationId="{FE2932BB-BD95-4D2F-95E5-081C63D542EC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444" creationId="{6861D25C-5D31-4F95-9C4B-B8E3F749228A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445" creationId="{99943252-92BC-4E59-B9A9-F656FE142265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446" creationId="{4AB496A9-5ACE-4A02-82C3-DCEF87B7E3B6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447" creationId="{64186157-A467-44DC-8400-832694B0B1B2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448" creationId="{54224017-A616-4C26-AC24-C579033F0D81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449" creationId="{8D492026-0B6D-46EB-BBE0-30A26B2AFE38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450" creationId="{EB9DB4BE-6EB9-4F2D-87DA-AF2BB7262519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451" creationId="{722C61C6-8327-47F6-877E-77737D8E4D9C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452" creationId="{547E7E6B-B25A-4914-9E87-5A0C07623536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453" creationId="{D8D6D2F4-2684-4D9C-884B-A471D03559A8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454" creationId="{647DA604-680B-4AA8-AE50-A2150D9FAF47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455" creationId="{C04826F7-B44B-4169-A4FF-7FC8CDEFA538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456" creationId="{F08CE7E9-C00F-4726-85D7-CF0C7641D12B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457" creationId="{AE72B140-E2F2-41B4-B55D-036B27713FDD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458" creationId="{882F642D-61E9-46C9-9426-7AC681B453E7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459" creationId="{CE4C052E-2280-4E70-94D7-BD0EA9662862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460" creationId="{CD505703-3B43-4009-B38C-BA45FAB28D95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461" creationId="{E06AE6C0-F3C1-4DC1-9512-27A24895D50D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462" creationId="{6C12AF24-2E15-4892-B778-156CA1468255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463" creationId="{E8334DDB-60B1-4BCE-98D0-DC0A6A73996C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464" creationId="{D002DA5B-4C36-41C6-A1A5-EB0C3BF24845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465" creationId="{8044EA14-0A88-4AD8-82F7-9B707DE71F22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466" creationId="{FA94D45D-5B22-454F-A660-80EACFDB34D2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467" creationId="{218DFA21-C828-4352-82C4-34C4B0C260E8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468" creationId="{1DCC27D9-D9E5-445F-8ADB-EBC23B3BB15C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469" creationId="{07023EFD-0D4E-4A7D-87CA-0F1BA3629552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470" creationId="{C357FABA-330E-4CAE-8A34-87505F33BACB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471" creationId="{6B32FB18-6749-4D71-A916-4D8A9038EBCD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472" creationId="{AAB4D5BB-36AE-4E3F-9DAC-D8C7C656F7CA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473" creationId="{D4BA32FF-ED99-4648-A234-CEA408A854D3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474" creationId="{668E44BA-BA74-46E9-8864-72601AE13E54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475" creationId="{F1434325-14AB-424C-8A68-B9111BE37674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476" creationId="{223BAF6D-DF6E-4109-AE2A-4E8FD767A919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477" creationId="{08835CC2-D518-436A-890F-B4A56B1330DC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478" creationId="{B0B0AA83-3A21-4FD7-828A-3434E0FFF271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479" creationId="{68E6AD88-5DBD-47C2-9757-5EAA37E5BDAA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480" creationId="{F082A98C-A2BA-4679-AB75-E9BA497839E7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481" creationId="{3904C3EC-5DC9-4B50-9C6F-7EC69E57A80C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482" creationId="{C3716D7E-04E6-4D7E-9C9E-2EF2B7E9254E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483" creationId="{0E64849C-22BD-4907-9106-DF31D8D06514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484" creationId="{EAE6FCA0-AC12-405B-9E14-8F554CA2224C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485" creationId="{C846A54F-FC63-45BC-AEAA-399854875F6A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486" creationId="{5B3EA02F-10DA-4061-B170-FBEFEACE93A6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487" creationId="{42A104AF-3094-4126-BF4B-9734F856EF17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488" creationId="{CF85B4FA-A784-4BA3-9A49-7C2CE1BE5FA8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489" creationId="{78D9B80B-D2F2-4D39-8AE8-0E03F5D53BE4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490" creationId="{FEB3999E-7E94-4A54-B0E4-14BB9A04FE93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491" creationId="{D9D54F1E-4A86-462B-A8FD-D38332221F8B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492" creationId="{60C2854D-E862-44F3-8785-BC4DD1734FCB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493" creationId="{2B3F3E51-E7E0-44A7-8490-9BCA56C5C7B8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494" creationId="{754362AC-A579-4CCB-AEE9-9A8FF9437EB2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495" creationId="{665EDD1F-20F8-4FB8-8542-8261B5678B13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496" creationId="{459FC936-42B3-4697-A132-60A9581292BC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497" creationId="{01DE797A-5670-48DD-BB99-6DEFCB8B8E3C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498" creationId="{BB8508EF-627B-43E9-9F5F-6B93EF2BB6AC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499" creationId="{EDD33315-F463-4B91-8EA1-E8A009B69485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500" creationId="{758DBF3E-E0B8-4C7D-95EF-0A7497A542F3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501" creationId="{367CF6B0-4CD0-4A6F-BF52-5402CE3B065A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502" creationId="{CE29772F-B147-4D0E-A13B-63FA754AAB26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503" creationId="{6D670C79-8ACB-42C9-890E-649E6AC392CA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504" creationId="{90361B92-17A7-4765-B62A-5F20094360EA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505" creationId="{8A1279EC-AADA-4C34-8C1F-DB6134C31D43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506" creationId="{A234E73B-618D-4056-AE45-541135DC70EE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507" creationId="{89A89337-1E8A-4039-B11F-EBE63BD0001F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508" creationId="{01C6FFCB-4849-452C-8AC0-08144226F417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509" creationId="{118C2153-9126-4A38-8379-EF090F846568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510" creationId="{98A7795B-49AD-409B-8CE1-94C44B3B8259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511" creationId="{28DF9D06-EFFE-47E1-84C7-99600C973D0F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512" creationId="{6A5005F8-4E46-4E6F-AA66-3BCCA3A551A4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513" creationId="{CB705692-04B9-4756-8655-28A196A493D4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514" creationId="{FA12AB1B-8D52-4560-900E-10770F689905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515" creationId="{A0C8F6D5-6C23-4F01-B625-50A25008B7DC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516" creationId="{E82EE0DE-BEA0-42CB-8B1A-D0FAEB8E6BA7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517" creationId="{1ABA3CAA-BA33-4CCA-9F66-13A3140DB51A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518" creationId="{7444229F-8045-4B1D-AEBF-007E06AD21BD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519" creationId="{8838022F-E44F-422B-A06F-F7CD623C0242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520" creationId="{516F192F-580E-40CF-B1B7-7823D6C5B1FF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521" creationId="{8A725B1D-9A65-4831-B9AF-C105F49FFB56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522" creationId="{5B291834-1233-4BAE-B44D-69342EBB1B6B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523" creationId="{B3DA34A6-3FCC-4EE1-831D-563696A1F565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524" creationId="{F4B03E37-300D-420F-B3E8-16713684ACA8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525" creationId="{123E0868-759B-491E-B2F6-94DA50009C4A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526" creationId="{F94597D2-E0DE-4535-96BB-BCB6F8D420FA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527" creationId="{0D83CB2C-38AD-4B5D-BD22-2DBFC7F56A35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528" creationId="{E86B00C3-2810-443F-B008-8C148167D615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529" creationId="{734E2B4F-D2FF-43C3-8E67-51728E59B914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530" creationId="{9824B71F-53FD-4481-BBDC-D66310040E84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531" creationId="{A732060D-A3D0-4D00-8C29-CEB55A4BAE9B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532" creationId="{AD653B75-4417-4275-818A-1990EEB91CE4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533" creationId="{4B05496F-8B53-4555-BA95-2CA79E65E3D6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534" creationId="{8411D3DA-86F7-4B52-8220-479E516D489A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535" creationId="{BBF1CAC3-AB8B-42EC-BFD1-580F62872BF0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536" creationId="{9116B0B3-B84B-45BF-98B1-E01D3AB76102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537" creationId="{2D1B60CE-2CC4-4FE9-B62A-CDAE16A4FC89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538" creationId="{4540F524-FD6A-48C4-A2D6-6D24E24412F0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539" creationId="{A324DA26-AF54-4BEC-B4AF-F3B74FFEF392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540" creationId="{B3D0D214-E6F4-4F82-B2EE-98B0123F5306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541" creationId="{E279D946-2082-493D-8F55-D9552DF7BB20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542" creationId="{A0693FF9-65FF-4AA4-BCC7-3A109707F2F9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543" creationId="{D4553448-9CAB-4E73-8C4C-D2CC7AA51504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544" creationId="{6CB4B2D2-5F83-455F-AD47-6A6F0B77F3CD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545" creationId="{22262536-2566-4A91-82CE-63770071F225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546" creationId="{19F25301-DBC5-450A-97B8-9E5EF9603DC4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547" creationId="{C5D93B31-9DF7-440B-80BA-54E7F4CE8D32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548" creationId="{EC4355C4-E2A0-4DB9-8589-257718D24607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549" creationId="{54269E92-971C-4DCE-8B4E-CECA3955DABB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550" creationId="{C9C35D96-6AD7-4F91-85F6-F32580C3F1DE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551" creationId="{0322DC05-FEFA-4CF3-B03F-930BAF0C0310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552" creationId="{6F58E06F-8287-4A3A-8FBB-72885D810001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553" creationId="{D178B8A8-1BFA-4EB0-B2C9-E650272FE5FA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554" creationId="{F403EF24-19CE-4DA5-A43E-25DE3AD1DB64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555" creationId="{FE0C0CC9-B7C0-4058-B9A2-899E02CB29E9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556" creationId="{634D5FBD-694D-4520-B096-9CB38526A699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557" creationId="{0302A5EC-D60D-406E-BC0D-7D45EF9F8648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558" creationId="{F9B340D9-651F-42EE-B4BF-ECD70306F972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559" creationId="{174DC440-A020-402E-91AF-79B4B1883DF8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560" creationId="{9EB8A291-9805-4FFF-8D48-68E3B76B963A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561" creationId="{1C078333-8B88-4267-89BF-613354B0DE3D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562" creationId="{160046E0-321F-422B-BF1B-3368795FC32C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563" creationId="{EE4D8E89-A854-4000-8B3D-6E99A93F88C2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564" creationId="{689491C8-F199-4B3D-832F-186AA4E8FE8F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565" creationId="{A00E66AE-279C-4551-BE76-CBEA3B2A105F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566" creationId="{A7BB01FE-79D7-4F85-945C-6A67FAC8B358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567" creationId="{259D5241-4A25-4D14-9A30-9E50A00D59EC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569" creationId="{FFE6D25E-72F1-43E0-B164-B8446B57AA6A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570" creationId="{58BCF979-445D-4601-A369-3CE7972EC60C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572" creationId="{DBEB579A-43DA-45EB-A33C-1DFCF7C56188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573" creationId="{7E951FF2-9C5E-491D-9E8E-49867B9EEBFD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575" creationId="{C1077527-15F1-4889-8D89-D4884AA13F52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576" creationId="{7982FAD9-2519-434F-8B31-DCA3131F10D1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577" creationId="{61B281AD-CACF-4C7D-8589-21786B5C7F73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578" creationId="{1707E8C4-5B42-44B4-A241-C5226ECB7F99}"/>
          </ac:spMkLst>
        </pc:spChg>
        <pc:spChg chg="mod">
          <ac:chgData name="Pierre Cavaroc" userId="150eff99-6aed-48f0-b13c-cabd0a4b3ac2" providerId="ADAL" clId="{E623609C-0EF4-4ECB-A655-127E285B354B}" dt="2021-03-21T21:59:35.256" v="5147" actId="165"/>
          <ac:spMkLst>
            <pc:docMk/>
            <pc:sldMk cId="726576754" sldId="2134803574"/>
            <ac:spMk id="579" creationId="{40F7F87D-F092-45CE-9945-5815B8CF32C6}"/>
          </ac:spMkLst>
        </pc:spChg>
        <pc:spChg chg="add mod">
          <ac:chgData name="Pierre Cavaroc" userId="150eff99-6aed-48f0-b13c-cabd0a4b3ac2" providerId="ADAL" clId="{E623609C-0EF4-4ECB-A655-127E285B354B}" dt="2021-03-21T22:09:07.009" v="5355" actId="1076"/>
          <ac:spMkLst>
            <pc:docMk/>
            <pc:sldMk cId="726576754" sldId="2134803574"/>
            <ac:spMk id="589" creationId="{06B64E2E-1E31-4EDF-8476-22D34CAAD8EF}"/>
          </ac:spMkLst>
        </pc:spChg>
        <pc:grpChg chg="del mod topLvl">
          <ac:chgData name="Pierre Cavaroc" userId="150eff99-6aed-48f0-b13c-cabd0a4b3ac2" providerId="ADAL" clId="{E623609C-0EF4-4ECB-A655-127E285B354B}" dt="2021-03-21T21:59:52.474" v="5151" actId="478"/>
          <ac:grpSpMkLst>
            <pc:docMk/>
            <pc:sldMk cId="726576754" sldId="2134803574"/>
            <ac:grpSpMk id="19" creationId="{01EE125C-B618-4690-B942-5A8301CB59DE}"/>
          </ac:grpSpMkLst>
        </pc:grpChg>
        <pc:grpChg chg="mod">
          <ac:chgData name="Pierre Cavaroc" userId="150eff99-6aed-48f0-b13c-cabd0a4b3ac2" providerId="ADAL" clId="{E623609C-0EF4-4ECB-A655-127E285B354B}" dt="2021-03-21T21:59:35.256" v="5147" actId="165"/>
          <ac:grpSpMkLst>
            <pc:docMk/>
            <pc:sldMk cId="726576754" sldId="2134803574"/>
            <ac:grpSpMk id="21" creationId="{01EE125C-B618-4690-B942-5A8301CB59DE}"/>
          </ac:grpSpMkLst>
        </pc:grpChg>
        <pc:grpChg chg="mod">
          <ac:chgData name="Pierre Cavaroc" userId="150eff99-6aed-48f0-b13c-cabd0a4b3ac2" providerId="ADAL" clId="{E623609C-0EF4-4ECB-A655-127E285B354B}" dt="2021-03-21T21:59:35.256" v="5147" actId="165"/>
          <ac:grpSpMkLst>
            <pc:docMk/>
            <pc:sldMk cId="726576754" sldId="2134803574"/>
            <ac:grpSpMk id="568" creationId="{01EE125C-B618-4690-B942-5A8301CB59DE}"/>
          </ac:grpSpMkLst>
        </pc:grpChg>
        <pc:grpChg chg="mod">
          <ac:chgData name="Pierre Cavaroc" userId="150eff99-6aed-48f0-b13c-cabd0a4b3ac2" providerId="ADAL" clId="{E623609C-0EF4-4ECB-A655-127E285B354B}" dt="2021-03-21T21:59:35.256" v="5147" actId="165"/>
          <ac:grpSpMkLst>
            <pc:docMk/>
            <pc:sldMk cId="726576754" sldId="2134803574"/>
            <ac:grpSpMk id="571" creationId="{01EE125C-B618-4690-B942-5A8301CB59DE}"/>
          </ac:grpSpMkLst>
        </pc:grpChg>
        <pc:grpChg chg="mod">
          <ac:chgData name="Pierre Cavaroc" userId="150eff99-6aed-48f0-b13c-cabd0a4b3ac2" providerId="ADAL" clId="{E623609C-0EF4-4ECB-A655-127E285B354B}" dt="2021-03-21T21:59:35.256" v="5147" actId="165"/>
          <ac:grpSpMkLst>
            <pc:docMk/>
            <pc:sldMk cId="726576754" sldId="2134803574"/>
            <ac:grpSpMk id="574" creationId="{01EE125C-B618-4690-B942-5A8301CB59DE}"/>
          </ac:grpSpMkLst>
        </pc:grpChg>
        <pc:grpChg chg="add del mod">
          <ac:chgData name="Pierre Cavaroc" userId="150eff99-6aed-48f0-b13c-cabd0a4b3ac2" providerId="ADAL" clId="{E623609C-0EF4-4ECB-A655-127E285B354B}" dt="2021-03-21T21:59:35.256" v="5147" actId="165"/>
          <ac:grpSpMkLst>
            <pc:docMk/>
            <pc:sldMk cId="726576754" sldId="2134803574"/>
            <ac:grpSpMk id="581" creationId="{0B53AA71-5D64-4C70-834E-11A81E20D801}"/>
          </ac:grpSpMkLst>
        </pc:grpChg>
        <pc:grpChg chg="add del mod">
          <ac:chgData name="Pierre Cavaroc" userId="150eff99-6aed-48f0-b13c-cabd0a4b3ac2" providerId="ADAL" clId="{E623609C-0EF4-4ECB-A655-127E285B354B}" dt="2021-03-21T22:03:27.115" v="5175" actId="165"/>
          <ac:grpSpMkLst>
            <pc:docMk/>
            <pc:sldMk cId="726576754" sldId="2134803574"/>
            <ac:grpSpMk id="584" creationId="{53F57830-97F6-45E7-939F-294CF1FBAABD}"/>
          </ac:grpSpMkLst>
        </pc:grpChg>
        <pc:grpChg chg="add mod">
          <ac:chgData name="Pierre Cavaroc" userId="150eff99-6aed-48f0-b13c-cabd0a4b3ac2" providerId="ADAL" clId="{E623609C-0EF4-4ECB-A655-127E285B354B}" dt="2021-03-21T22:09:27.402" v="5356"/>
          <ac:grpSpMkLst>
            <pc:docMk/>
            <pc:sldMk cId="726576754" sldId="2134803574"/>
            <ac:grpSpMk id="587" creationId="{F8D1DC3A-9AC7-4834-9F21-BB89B68E3F49}"/>
          </ac:grpSpMkLst>
        </pc:grpChg>
        <pc:grpChg chg="add mod">
          <ac:chgData name="Pierre Cavaroc" userId="150eff99-6aed-48f0-b13c-cabd0a4b3ac2" providerId="ADAL" clId="{E623609C-0EF4-4ECB-A655-127E285B354B}" dt="2021-03-21T22:08:52.961" v="5348"/>
          <ac:grpSpMkLst>
            <pc:docMk/>
            <pc:sldMk cId="726576754" sldId="2134803574"/>
            <ac:grpSpMk id="590" creationId="{2824C63E-0C23-4D5F-B9CE-C555B15B3079}"/>
          </ac:grpSpMkLst>
        </pc:grpChg>
        <pc:picChg chg="add del mod modCrop">
          <ac:chgData name="Pierre Cavaroc" userId="150eff99-6aed-48f0-b13c-cabd0a4b3ac2" providerId="ADAL" clId="{E623609C-0EF4-4ECB-A655-127E285B354B}" dt="2021-03-21T21:47:32.976" v="4774" actId="478"/>
          <ac:picMkLst>
            <pc:docMk/>
            <pc:sldMk cId="726576754" sldId="2134803574"/>
            <ac:picMk id="6" creationId="{E00AE55C-79C2-45ED-9D3F-F5E4591CEB1E}"/>
          </ac:picMkLst>
        </pc:picChg>
        <pc:picChg chg="add del mod">
          <ac:chgData name="Pierre Cavaroc" userId="150eff99-6aed-48f0-b13c-cabd0a4b3ac2" providerId="ADAL" clId="{E623609C-0EF4-4ECB-A655-127E285B354B}" dt="2021-03-21T21:47:48.224" v="4776" actId="478"/>
          <ac:picMkLst>
            <pc:docMk/>
            <pc:sldMk cId="726576754" sldId="2134803574"/>
            <ac:picMk id="10" creationId="{B39F409E-5D75-497A-9DE5-4256425079E1}"/>
          </ac:picMkLst>
        </pc:picChg>
        <pc:picChg chg="add del mod">
          <ac:chgData name="Pierre Cavaroc" userId="150eff99-6aed-48f0-b13c-cabd0a4b3ac2" providerId="ADAL" clId="{E623609C-0EF4-4ECB-A655-127E285B354B}" dt="2021-03-21T21:53:26.514" v="4814" actId="27803"/>
          <ac:picMkLst>
            <pc:docMk/>
            <pc:sldMk cId="726576754" sldId="2134803574"/>
            <ac:picMk id="14" creationId="{01EE125C-B618-4690-B942-5A8301CB59DE}"/>
          </ac:picMkLst>
        </pc:picChg>
        <pc:picChg chg="add mod">
          <ac:chgData name="Pierre Cavaroc" userId="150eff99-6aed-48f0-b13c-cabd0a4b3ac2" providerId="ADAL" clId="{E623609C-0EF4-4ECB-A655-127E285B354B}" dt="2021-03-21T21:58:33.712" v="5144" actId="1076"/>
          <ac:picMkLst>
            <pc:docMk/>
            <pc:sldMk cId="726576754" sldId="2134803574"/>
            <ac:picMk id="16" creationId="{0934CC82-8314-4800-B7E0-A629BB9FB518}"/>
          </ac:picMkLst>
        </pc:picChg>
        <pc:picChg chg="mod">
          <ac:chgData name="Pierre Cavaroc" userId="150eff99-6aed-48f0-b13c-cabd0a4b3ac2" providerId="ADAL" clId="{E623609C-0EF4-4ECB-A655-127E285B354B}" dt="2021-03-21T21:59:35.256" v="5147" actId="165"/>
          <ac:picMkLst>
            <pc:docMk/>
            <pc:sldMk cId="726576754" sldId="2134803574"/>
            <ac:picMk id="580" creationId="{127AB7A1-17F3-4F96-88F1-05C158E46F57}"/>
          </ac:picMkLst>
        </pc:picChg>
        <pc:picChg chg="add mod topLvl">
          <ac:chgData name="Pierre Cavaroc" userId="150eff99-6aed-48f0-b13c-cabd0a4b3ac2" providerId="ADAL" clId="{E623609C-0EF4-4ECB-A655-127E285B354B}" dt="2021-03-21T22:09:27.402" v="5356"/>
          <ac:picMkLst>
            <pc:docMk/>
            <pc:sldMk cId="726576754" sldId="2134803574"/>
            <ac:picMk id="583" creationId="{DB45A407-BA85-48DB-9708-4ABC48E1709A}"/>
          </ac:picMkLst>
        </pc:picChg>
        <pc:picChg chg="add mod">
          <ac:chgData name="Pierre Cavaroc" userId="150eff99-6aed-48f0-b13c-cabd0a4b3ac2" providerId="ADAL" clId="{E623609C-0EF4-4ECB-A655-127E285B354B}" dt="2021-03-21T22:08:52.961" v="5348"/>
          <ac:picMkLst>
            <pc:docMk/>
            <pc:sldMk cId="726576754" sldId="2134803574"/>
            <ac:picMk id="586" creationId="{006C5159-BFA3-482E-8E5C-C10B0A6118D2}"/>
          </ac:picMkLst>
        </pc:picChg>
      </pc:sldChg>
      <pc:sldChg chg="modSp add mod">
        <pc:chgData name="Pierre Cavaroc" userId="150eff99-6aed-48f0-b13c-cabd0a4b3ac2" providerId="ADAL" clId="{E623609C-0EF4-4ECB-A655-127E285B354B}" dt="2021-03-21T21:39:35.929" v="4739" actId="12789"/>
        <pc:sldMkLst>
          <pc:docMk/>
          <pc:sldMk cId="1721746822" sldId="2134803575"/>
        </pc:sldMkLst>
        <pc:spChg chg="mod">
          <ac:chgData name="Pierre Cavaroc" userId="150eff99-6aed-48f0-b13c-cabd0a4b3ac2" providerId="ADAL" clId="{E623609C-0EF4-4ECB-A655-127E285B354B}" dt="2021-03-21T21:39:35.929" v="4739" actId="12789"/>
          <ac:spMkLst>
            <pc:docMk/>
            <pc:sldMk cId="1721746822" sldId="2134803575"/>
            <ac:spMk id="6" creationId="{D037EEB5-6036-41AA-855E-326A8E292CAE}"/>
          </ac:spMkLst>
        </pc:spChg>
      </pc:sldChg>
      <pc:sldChg chg="addSp delSp modSp new mod modClrScheme modAnim chgLayout modNotesTx">
        <pc:chgData name="Pierre Cavaroc" userId="150eff99-6aed-48f0-b13c-cabd0a4b3ac2" providerId="ADAL" clId="{E623609C-0EF4-4ECB-A655-127E285B354B}" dt="2021-03-21T22:30:17.946" v="5556" actId="20577"/>
        <pc:sldMkLst>
          <pc:docMk/>
          <pc:sldMk cId="3772228819" sldId="2134803576"/>
        </pc:sldMkLst>
        <pc:spChg chg="mod ord">
          <ac:chgData name="Pierre Cavaroc" userId="150eff99-6aed-48f0-b13c-cabd0a4b3ac2" providerId="ADAL" clId="{E623609C-0EF4-4ECB-A655-127E285B354B}" dt="2021-03-21T22:13:05.999" v="5381" actId="700"/>
          <ac:spMkLst>
            <pc:docMk/>
            <pc:sldMk cId="3772228819" sldId="2134803576"/>
            <ac:spMk id="2" creationId="{15EEAF0F-9890-4A64-8D18-196176D19909}"/>
          </ac:spMkLst>
        </pc:spChg>
        <pc:spChg chg="del mod ord">
          <ac:chgData name="Pierre Cavaroc" userId="150eff99-6aed-48f0-b13c-cabd0a4b3ac2" providerId="ADAL" clId="{E623609C-0EF4-4ECB-A655-127E285B354B}" dt="2021-03-21T22:13:05.999" v="5381" actId="700"/>
          <ac:spMkLst>
            <pc:docMk/>
            <pc:sldMk cId="3772228819" sldId="2134803576"/>
            <ac:spMk id="3" creationId="{CD7422C8-8ED7-4793-9DF5-1020ED50AD98}"/>
          </ac:spMkLst>
        </pc:spChg>
        <pc:spChg chg="mod ord">
          <ac:chgData name="Pierre Cavaroc" userId="150eff99-6aed-48f0-b13c-cabd0a4b3ac2" providerId="ADAL" clId="{E623609C-0EF4-4ECB-A655-127E285B354B}" dt="2021-03-21T22:13:05.999" v="5381" actId="700"/>
          <ac:spMkLst>
            <pc:docMk/>
            <pc:sldMk cId="3772228819" sldId="2134803576"/>
            <ac:spMk id="4" creationId="{442D2DF8-AF3E-4D91-86D0-0627C4B31238}"/>
          </ac:spMkLst>
        </pc:spChg>
        <pc:spChg chg="add del mod ord">
          <ac:chgData name="Pierre Cavaroc" userId="150eff99-6aed-48f0-b13c-cabd0a4b3ac2" providerId="ADAL" clId="{E623609C-0EF4-4ECB-A655-127E285B354B}" dt="2021-03-21T22:21:01.955" v="5382" actId="478"/>
          <ac:spMkLst>
            <pc:docMk/>
            <pc:sldMk cId="3772228819" sldId="2134803576"/>
            <ac:spMk id="5" creationId="{E3CA6B97-0372-43D2-A052-9BC6DE5AB632}"/>
          </ac:spMkLst>
        </pc:spChg>
        <pc:spChg chg="add mod">
          <ac:chgData name="Pierre Cavaroc" userId="150eff99-6aed-48f0-b13c-cabd0a4b3ac2" providerId="ADAL" clId="{E623609C-0EF4-4ECB-A655-127E285B354B}" dt="2021-03-21T22:26:04.384" v="5445" actId="164"/>
          <ac:spMkLst>
            <pc:docMk/>
            <pc:sldMk cId="3772228819" sldId="2134803576"/>
            <ac:spMk id="12" creationId="{0BBDF6D9-E505-47A2-9BFD-914DEC99D506}"/>
          </ac:spMkLst>
        </pc:spChg>
        <pc:spChg chg="add mod">
          <ac:chgData name="Pierre Cavaroc" userId="150eff99-6aed-48f0-b13c-cabd0a4b3ac2" providerId="ADAL" clId="{E623609C-0EF4-4ECB-A655-127E285B354B}" dt="2021-03-21T22:26:09.416" v="5446" actId="164"/>
          <ac:spMkLst>
            <pc:docMk/>
            <pc:sldMk cId="3772228819" sldId="2134803576"/>
            <ac:spMk id="13" creationId="{743EA057-436D-4821-AFF7-6EA5188F9ADE}"/>
          </ac:spMkLst>
        </pc:spChg>
        <pc:spChg chg="add mod">
          <ac:chgData name="Pierre Cavaroc" userId="150eff99-6aed-48f0-b13c-cabd0a4b3ac2" providerId="ADAL" clId="{E623609C-0EF4-4ECB-A655-127E285B354B}" dt="2021-03-21T22:26:13.323" v="5447" actId="164"/>
          <ac:spMkLst>
            <pc:docMk/>
            <pc:sldMk cId="3772228819" sldId="2134803576"/>
            <ac:spMk id="14" creationId="{0E640172-4F59-410F-8661-678690A96B41}"/>
          </ac:spMkLst>
        </pc:spChg>
        <pc:grpChg chg="add mod">
          <ac:chgData name="Pierre Cavaroc" userId="150eff99-6aed-48f0-b13c-cabd0a4b3ac2" providerId="ADAL" clId="{E623609C-0EF4-4ECB-A655-127E285B354B}" dt="2021-03-21T22:26:04.384" v="5445" actId="164"/>
          <ac:grpSpMkLst>
            <pc:docMk/>
            <pc:sldMk cId="3772228819" sldId="2134803576"/>
            <ac:grpSpMk id="15" creationId="{CC39B061-927B-4ED7-8172-98D23BD6E9A5}"/>
          </ac:grpSpMkLst>
        </pc:grpChg>
        <pc:grpChg chg="add mod">
          <ac:chgData name="Pierre Cavaroc" userId="150eff99-6aed-48f0-b13c-cabd0a4b3ac2" providerId="ADAL" clId="{E623609C-0EF4-4ECB-A655-127E285B354B}" dt="2021-03-21T22:26:09.416" v="5446" actId="164"/>
          <ac:grpSpMkLst>
            <pc:docMk/>
            <pc:sldMk cId="3772228819" sldId="2134803576"/>
            <ac:grpSpMk id="16" creationId="{0603B4C7-B800-4929-97CB-7164018656E5}"/>
          </ac:grpSpMkLst>
        </pc:grpChg>
        <pc:grpChg chg="add mod">
          <ac:chgData name="Pierre Cavaroc" userId="150eff99-6aed-48f0-b13c-cabd0a4b3ac2" providerId="ADAL" clId="{E623609C-0EF4-4ECB-A655-127E285B354B}" dt="2021-03-21T22:26:13.323" v="5447" actId="164"/>
          <ac:grpSpMkLst>
            <pc:docMk/>
            <pc:sldMk cId="3772228819" sldId="2134803576"/>
            <ac:grpSpMk id="17" creationId="{A8457730-8D5A-4229-9260-79CA78CD51C2}"/>
          </ac:grpSpMkLst>
        </pc:grpChg>
        <pc:picChg chg="add mod">
          <ac:chgData name="Pierre Cavaroc" userId="150eff99-6aed-48f0-b13c-cabd0a4b3ac2" providerId="ADAL" clId="{E623609C-0EF4-4ECB-A655-127E285B354B}" dt="2021-03-21T22:26:13.323" v="5447" actId="164"/>
          <ac:picMkLst>
            <pc:docMk/>
            <pc:sldMk cId="3772228819" sldId="2134803576"/>
            <ac:picMk id="7" creationId="{4F2A2823-A820-4F02-82F7-073B7A5A158F}"/>
          </ac:picMkLst>
        </pc:picChg>
        <pc:picChg chg="add mod modCrop">
          <ac:chgData name="Pierre Cavaroc" userId="150eff99-6aed-48f0-b13c-cabd0a4b3ac2" providerId="ADAL" clId="{E623609C-0EF4-4ECB-A655-127E285B354B}" dt="2021-03-21T22:26:09.416" v="5446" actId="164"/>
          <ac:picMkLst>
            <pc:docMk/>
            <pc:sldMk cId="3772228819" sldId="2134803576"/>
            <ac:picMk id="9" creationId="{A2861C97-9BFA-49A3-A3B0-C98287B455DC}"/>
          </ac:picMkLst>
        </pc:picChg>
        <pc:picChg chg="add mod">
          <ac:chgData name="Pierre Cavaroc" userId="150eff99-6aed-48f0-b13c-cabd0a4b3ac2" providerId="ADAL" clId="{E623609C-0EF4-4ECB-A655-127E285B354B}" dt="2021-03-21T22:26:04.384" v="5445" actId="164"/>
          <ac:picMkLst>
            <pc:docMk/>
            <pc:sldMk cId="3772228819" sldId="2134803576"/>
            <ac:picMk id="11" creationId="{437C6FA8-89D8-4F69-960C-425628F7D040}"/>
          </ac:picMkLst>
        </pc:picChg>
      </pc:sldChg>
      <pc:sldChg chg="add modTransition modNotesTx">
        <pc:chgData name="Pierre Cavaroc" userId="150eff99-6aed-48f0-b13c-cabd0a4b3ac2" providerId="ADAL" clId="{E623609C-0EF4-4ECB-A655-127E285B354B}" dt="2021-03-21T23:45:01.564" v="6582" actId="20577"/>
        <pc:sldMkLst>
          <pc:docMk/>
          <pc:sldMk cId="1523432165" sldId="2134803577"/>
        </pc:sldMkLst>
      </pc:sldChg>
      <pc:sldChg chg="add ord">
        <pc:chgData name="Pierre Cavaroc" userId="150eff99-6aed-48f0-b13c-cabd0a4b3ac2" providerId="ADAL" clId="{E623609C-0EF4-4ECB-A655-127E285B354B}" dt="2021-03-21T22:34:17.170" v="5664"/>
        <pc:sldMkLst>
          <pc:docMk/>
          <pc:sldMk cId="2546688106" sldId="2134803578"/>
        </pc:sldMkLst>
      </pc:sldChg>
      <pc:sldChg chg="del">
        <pc:chgData name="Pierre Cavaroc" userId="150eff99-6aed-48f0-b13c-cabd0a4b3ac2" providerId="ADAL" clId="{E623609C-0EF4-4ECB-A655-127E285B354B}" dt="2021-03-21T22:40:41.047" v="5913" actId="47"/>
        <pc:sldMkLst>
          <pc:docMk/>
          <pc:sldMk cId="257994304" sldId="2134803579"/>
        </pc:sldMkLst>
      </pc:sldChg>
      <pc:sldChg chg="addSp delSp modSp new mod modClrScheme chgLayout modNotesTx">
        <pc:chgData name="Pierre Cavaroc" userId="150eff99-6aed-48f0-b13c-cabd0a4b3ac2" providerId="ADAL" clId="{E623609C-0EF4-4ECB-A655-127E285B354B}" dt="2021-03-21T23:21:12.373" v="6128" actId="1076"/>
        <pc:sldMkLst>
          <pc:docMk/>
          <pc:sldMk cId="2225764790" sldId="2134803579"/>
        </pc:sldMkLst>
        <pc:spChg chg="del mod ord">
          <ac:chgData name="Pierre Cavaroc" userId="150eff99-6aed-48f0-b13c-cabd0a4b3ac2" providerId="ADAL" clId="{E623609C-0EF4-4ECB-A655-127E285B354B}" dt="2021-03-21T22:40:50.898" v="5915" actId="700"/>
          <ac:spMkLst>
            <pc:docMk/>
            <pc:sldMk cId="2225764790" sldId="2134803579"/>
            <ac:spMk id="2" creationId="{981CA958-CEB4-4E96-8D3B-748A43824256}"/>
          </ac:spMkLst>
        </pc:spChg>
        <pc:spChg chg="add mod ord">
          <ac:chgData name="Pierre Cavaroc" userId="150eff99-6aed-48f0-b13c-cabd0a4b3ac2" providerId="ADAL" clId="{E623609C-0EF4-4ECB-A655-127E285B354B}" dt="2021-03-21T22:53:57.104" v="5973" actId="20577"/>
          <ac:spMkLst>
            <pc:docMk/>
            <pc:sldMk cId="2225764790" sldId="2134803579"/>
            <ac:spMk id="3" creationId="{A838D7FC-FF2D-446F-A8A8-A55FCFF05ED6}"/>
          </ac:spMkLst>
        </pc:spChg>
        <pc:spChg chg="add del mod ord">
          <ac:chgData name="Pierre Cavaroc" userId="150eff99-6aed-48f0-b13c-cabd0a4b3ac2" providerId="ADAL" clId="{E623609C-0EF4-4ECB-A655-127E285B354B}" dt="2021-03-21T22:44:57.092" v="5924"/>
          <ac:spMkLst>
            <pc:docMk/>
            <pc:sldMk cId="2225764790" sldId="2134803579"/>
            <ac:spMk id="4" creationId="{C039BE11-E5B8-40FD-BCE2-418041D0BB38}"/>
          </ac:spMkLst>
        </pc:spChg>
        <pc:spChg chg="add del mod">
          <ac:chgData name="Pierre Cavaroc" userId="150eff99-6aed-48f0-b13c-cabd0a4b3ac2" providerId="ADAL" clId="{E623609C-0EF4-4ECB-A655-127E285B354B}" dt="2021-03-21T22:52:30.876" v="5928"/>
          <ac:spMkLst>
            <pc:docMk/>
            <pc:sldMk cId="2225764790" sldId="2134803579"/>
            <ac:spMk id="8" creationId="{E187961E-AD6B-45E0-8C25-70F0CE91D63C}"/>
          </ac:spMkLst>
        </pc:spChg>
        <pc:spChg chg="add mod">
          <ac:chgData name="Pierre Cavaroc" userId="150eff99-6aed-48f0-b13c-cabd0a4b3ac2" providerId="ADAL" clId="{E623609C-0EF4-4ECB-A655-127E285B354B}" dt="2021-03-21T23:21:12.373" v="6128" actId="1076"/>
          <ac:spMkLst>
            <pc:docMk/>
            <pc:sldMk cId="2225764790" sldId="2134803579"/>
            <ac:spMk id="16" creationId="{F799A530-2387-4C26-B019-45D17BFDCFD1}"/>
          </ac:spMkLst>
        </pc:spChg>
        <pc:picChg chg="add del mod modCrop">
          <ac:chgData name="Pierre Cavaroc" userId="150eff99-6aed-48f0-b13c-cabd0a4b3ac2" providerId="ADAL" clId="{E623609C-0EF4-4ECB-A655-127E285B354B}" dt="2021-03-21T22:52:13.258" v="5927" actId="478"/>
          <ac:picMkLst>
            <pc:docMk/>
            <pc:sldMk cId="2225764790" sldId="2134803579"/>
            <ac:picMk id="6" creationId="{5805623D-4174-484B-9BE4-1E3A4490BED4}"/>
          </ac:picMkLst>
        </pc:picChg>
        <pc:picChg chg="add mod">
          <ac:chgData name="Pierre Cavaroc" userId="150eff99-6aed-48f0-b13c-cabd0a4b3ac2" providerId="ADAL" clId="{E623609C-0EF4-4ECB-A655-127E285B354B}" dt="2021-03-21T22:54:22.712" v="5979" actId="1076"/>
          <ac:picMkLst>
            <pc:docMk/>
            <pc:sldMk cId="2225764790" sldId="2134803579"/>
            <ac:picMk id="10" creationId="{0D024259-D107-4E82-9728-67145D2D609D}"/>
          </ac:picMkLst>
        </pc:picChg>
        <pc:picChg chg="add mod">
          <ac:chgData name="Pierre Cavaroc" userId="150eff99-6aed-48f0-b13c-cabd0a4b3ac2" providerId="ADAL" clId="{E623609C-0EF4-4ECB-A655-127E285B354B}" dt="2021-03-21T22:54:22.712" v="5979" actId="1076"/>
          <ac:picMkLst>
            <pc:docMk/>
            <pc:sldMk cId="2225764790" sldId="2134803579"/>
            <ac:picMk id="12" creationId="{1C27CC35-7929-4C56-8FEF-6E8478AAFDB8}"/>
          </ac:picMkLst>
        </pc:picChg>
        <pc:picChg chg="add mod">
          <ac:chgData name="Pierre Cavaroc" userId="150eff99-6aed-48f0-b13c-cabd0a4b3ac2" providerId="ADAL" clId="{E623609C-0EF4-4ECB-A655-127E285B354B}" dt="2021-03-21T22:54:22.712" v="5979" actId="1076"/>
          <ac:picMkLst>
            <pc:docMk/>
            <pc:sldMk cId="2225764790" sldId="2134803579"/>
            <ac:picMk id="14" creationId="{540D2672-EBDB-43EC-A711-84C0EB4BB15C}"/>
          </ac:picMkLst>
        </pc:picChg>
      </pc:sldChg>
      <pc:sldChg chg="addSp delSp modSp new mod">
        <pc:chgData name="Pierre Cavaroc" userId="150eff99-6aed-48f0-b13c-cabd0a4b3ac2" providerId="ADAL" clId="{E623609C-0EF4-4ECB-A655-127E285B354B}" dt="2021-03-21T23:15:21.961" v="6086" actId="12789"/>
        <pc:sldMkLst>
          <pc:docMk/>
          <pc:sldMk cId="2136510916" sldId="2134803580"/>
        </pc:sldMkLst>
        <pc:spChg chg="del">
          <ac:chgData name="Pierre Cavaroc" userId="150eff99-6aed-48f0-b13c-cabd0a4b3ac2" providerId="ADAL" clId="{E623609C-0EF4-4ECB-A655-127E285B354B}" dt="2021-03-21T22:58:35.770" v="5998"/>
          <ac:spMkLst>
            <pc:docMk/>
            <pc:sldMk cId="2136510916" sldId="2134803580"/>
            <ac:spMk id="3" creationId="{2ADBFE5B-CC94-4BE5-943F-A7DF5E2855D1}"/>
          </ac:spMkLst>
        </pc:spChg>
        <pc:spChg chg="mod">
          <ac:chgData name="Pierre Cavaroc" userId="150eff99-6aed-48f0-b13c-cabd0a4b3ac2" providerId="ADAL" clId="{E623609C-0EF4-4ECB-A655-127E285B354B}" dt="2021-03-21T22:56:23.970" v="5997" actId="20577"/>
          <ac:spMkLst>
            <pc:docMk/>
            <pc:sldMk cId="2136510916" sldId="2134803580"/>
            <ac:spMk id="4" creationId="{B632B0ED-7BE9-4700-B795-4A2308012C0D}"/>
          </ac:spMkLst>
        </pc:spChg>
        <pc:spChg chg="add del mod">
          <ac:chgData name="Pierre Cavaroc" userId="150eff99-6aed-48f0-b13c-cabd0a4b3ac2" providerId="ADAL" clId="{E623609C-0EF4-4ECB-A655-127E285B354B}" dt="2021-03-21T23:00:19.222" v="6002"/>
          <ac:spMkLst>
            <pc:docMk/>
            <pc:sldMk cId="2136510916" sldId="2134803580"/>
            <ac:spMk id="8" creationId="{78EDFCFF-0744-4CB6-9258-BEEE0ECFB20F}"/>
          </ac:spMkLst>
        </pc:spChg>
        <pc:spChg chg="add mod">
          <ac:chgData name="Pierre Cavaroc" userId="150eff99-6aed-48f0-b13c-cabd0a4b3ac2" providerId="ADAL" clId="{E623609C-0EF4-4ECB-A655-127E285B354B}" dt="2021-03-21T23:09:24.702" v="6073" actId="164"/>
          <ac:spMkLst>
            <pc:docMk/>
            <pc:sldMk cId="2136510916" sldId="2134803580"/>
            <ac:spMk id="11" creationId="{35DC8E1D-1161-474F-A42B-09A3824D9183}"/>
          </ac:spMkLst>
        </pc:spChg>
        <pc:spChg chg="add del mod">
          <ac:chgData name="Pierre Cavaroc" userId="150eff99-6aed-48f0-b13c-cabd0a4b3ac2" providerId="ADAL" clId="{E623609C-0EF4-4ECB-A655-127E285B354B}" dt="2021-03-21T23:02:12.243" v="6040"/>
          <ac:spMkLst>
            <pc:docMk/>
            <pc:sldMk cId="2136510916" sldId="2134803580"/>
            <ac:spMk id="13" creationId="{4191B147-F616-4753-A5E7-9E7A08E2B540}"/>
          </ac:spMkLst>
        </pc:spChg>
        <pc:spChg chg="mod">
          <ac:chgData name="Pierre Cavaroc" userId="150eff99-6aed-48f0-b13c-cabd0a4b3ac2" providerId="ADAL" clId="{E623609C-0EF4-4ECB-A655-127E285B354B}" dt="2021-03-21T23:02:37.896" v="6045" actId="27803"/>
          <ac:spMkLst>
            <pc:docMk/>
            <pc:sldMk cId="2136510916" sldId="2134803580"/>
            <ac:spMk id="17" creationId="{662FA68B-37A4-4DBD-8615-E7F87BA941A4}"/>
          </ac:spMkLst>
        </pc:spChg>
        <pc:spChg chg="mod">
          <ac:chgData name="Pierre Cavaroc" userId="150eff99-6aed-48f0-b13c-cabd0a4b3ac2" providerId="ADAL" clId="{E623609C-0EF4-4ECB-A655-127E285B354B}" dt="2021-03-21T23:02:37.896" v="6045" actId="27803"/>
          <ac:spMkLst>
            <pc:docMk/>
            <pc:sldMk cId="2136510916" sldId="2134803580"/>
            <ac:spMk id="19" creationId="{8D09DF6C-7DE8-467B-B874-C740F6C3FD18}"/>
          </ac:spMkLst>
        </pc:spChg>
        <pc:spChg chg="mod">
          <ac:chgData name="Pierre Cavaroc" userId="150eff99-6aed-48f0-b13c-cabd0a4b3ac2" providerId="ADAL" clId="{E623609C-0EF4-4ECB-A655-127E285B354B}" dt="2021-03-21T23:02:37.896" v="6045" actId="27803"/>
          <ac:spMkLst>
            <pc:docMk/>
            <pc:sldMk cId="2136510916" sldId="2134803580"/>
            <ac:spMk id="20" creationId="{1522023B-9F3F-4C40-A0F9-389A40019B04}"/>
          </ac:spMkLst>
        </pc:spChg>
        <pc:spChg chg="mod">
          <ac:chgData name="Pierre Cavaroc" userId="150eff99-6aed-48f0-b13c-cabd0a4b3ac2" providerId="ADAL" clId="{E623609C-0EF4-4ECB-A655-127E285B354B}" dt="2021-03-21T23:02:37.896" v="6045" actId="27803"/>
          <ac:spMkLst>
            <pc:docMk/>
            <pc:sldMk cId="2136510916" sldId="2134803580"/>
            <ac:spMk id="21" creationId="{6A651DFD-FB99-49C7-9D1B-31822AE6A7F0}"/>
          </ac:spMkLst>
        </pc:spChg>
        <pc:spChg chg="mod">
          <ac:chgData name="Pierre Cavaroc" userId="150eff99-6aed-48f0-b13c-cabd0a4b3ac2" providerId="ADAL" clId="{E623609C-0EF4-4ECB-A655-127E285B354B}" dt="2021-03-21T23:02:37.896" v="6045" actId="27803"/>
          <ac:spMkLst>
            <pc:docMk/>
            <pc:sldMk cId="2136510916" sldId="2134803580"/>
            <ac:spMk id="22" creationId="{4BC901B7-1A5D-427D-81C5-C9B1FD53225D}"/>
          </ac:spMkLst>
        </pc:spChg>
        <pc:spChg chg="mod">
          <ac:chgData name="Pierre Cavaroc" userId="150eff99-6aed-48f0-b13c-cabd0a4b3ac2" providerId="ADAL" clId="{E623609C-0EF4-4ECB-A655-127E285B354B}" dt="2021-03-21T23:02:37.896" v="6045" actId="27803"/>
          <ac:spMkLst>
            <pc:docMk/>
            <pc:sldMk cId="2136510916" sldId="2134803580"/>
            <ac:spMk id="23" creationId="{CE9132EA-89F5-4F97-9469-BB4453032089}"/>
          </ac:spMkLst>
        </pc:spChg>
        <pc:spChg chg="mod">
          <ac:chgData name="Pierre Cavaroc" userId="150eff99-6aed-48f0-b13c-cabd0a4b3ac2" providerId="ADAL" clId="{E623609C-0EF4-4ECB-A655-127E285B354B}" dt="2021-03-21T23:02:37.896" v="6045" actId="27803"/>
          <ac:spMkLst>
            <pc:docMk/>
            <pc:sldMk cId="2136510916" sldId="2134803580"/>
            <ac:spMk id="24" creationId="{2C272E6B-2A13-42BC-AFFC-3FC6182018A4}"/>
          </ac:spMkLst>
        </pc:spChg>
        <pc:spChg chg="mod">
          <ac:chgData name="Pierre Cavaroc" userId="150eff99-6aed-48f0-b13c-cabd0a4b3ac2" providerId="ADAL" clId="{E623609C-0EF4-4ECB-A655-127E285B354B}" dt="2021-03-21T23:02:37.896" v="6045" actId="27803"/>
          <ac:spMkLst>
            <pc:docMk/>
            <pc:sldMk cId="2136510916" sldId="2134803580"/>
            <ac:spMk id="25" creationId="{4DC92030-F298-4904-92AF-18E2A582B802}"/>
          </ac:spMkLst>
        </pc:spChg>
        <pc:spChg chg="mod">
          <ac:chgData name="Pierre Cavaroc" userId="150eff99-6aed-48f0-b13c-cabd0a4b3ac2" providerId="ADAL" clId="{E623609C-0EF4-4ECB-A655-127E285B354B}" dt="2021-03-21T23:02:37.896" v="6045" actId="27803"/>
          <ac:spMkLst>
            <pc:docMk/>
            <pc:sldMk cId="2136510916" sldId="2134803580"/>
            <ac:spMk id="26" creationId="{380B6595-5D3E-4517-A484-92ACF3EC73F6}"/>
          </ac:spMkLst>
        </pc:spChg>
        <pc:spChg chg="mod">
          <ac:chgData name="Pierre Cavaroc" userId="150eff99-6aed-48f0-b13c-cabd0a4b3ac2" providerId="ADAL" clId="{E623609C-0EF4-4ECB-A655-127E285B354B}" dt="2021-03-21T23:02:37.896" v="6045" actId="27803"/>
          <ac:spMkLst>
            <pc:docMk/>
            <pc:sldMk cId="2136510916" sldId="2134803580"/>
            <ac:spMk id="27" creationId="{C987F213-881D-4152-B218-90B0E86AE0B9}"/>
          </ac:spMkLst>
        </pc:spChg>
        <pc:spChg chg="mod">
          <ac:chgData name="Pierre Cavaroc" userId="150eff99-6aed-48f0-b13c-cabd0a4b3ac2" providerId="ADAL" clId="{E623609C-0EF4-4ECB-A655-127E285B354B}" dt="2021-03-21T23:02:37.896" v="6045" actId="27803"/>
          <ac:spMkLst>
            <pc:docMk/>
            <pc:sldMk cId="2136510916" sldId="2134803580"/>
            <ac:spMk id="28" creationId="{B6C81B1F-1BB3-430E-BDDC-DC1773D8FD04}"/>
          </ac:spMkLst>
        </pc:spChg>
        <pc:spChg chg="mod">
          <ac:chgData name="Pierre Cavaroc" userId="150eff99-6aed-48f0-b13c-cabd0a4b3ac2" providerId="ADAL" clId="{E623609C-0EF4-4ECB-A655-127E285B354B}" dt="2021-03-21T23:02:37.896" v="6045" actId="27803"/>
          <ac:spMkLst>
            <pc:docMk/>
            <pc:sldMk cId="2136510916" sldId="2134803580"/>
            <ac:spMk id="29" creationId="{92558139-FA82-4353-BC13-FA3E214C0336}"/>
          </ac:spMkLst>
        </pc:spChg>
        <pc:spChg chg="mod">
          <ac:chgData name="Pierre Cavaroc" userId="150eff99-6aed-48f0-b13c-cabd0a4b3ac2" providerId="ADAL" clId="{E623609C-0EF4-4ECB-A655-127E285B354B}" dt="2021-03-21T23:02:37.896" v="6045" actId="27803"/>
          <ac:spMkLst>
            <pc:docMk/>
            <pc:sldMk cId="2136510916" sldId="2134803580"/>
            <ac:spMk id="30" creationId="{F3B57766-DC81-4C27-A918-66A2E3896D5C}"/>
          </ac:spMkLst>
        </pc:spChg>
        <pc:spChg chg="mod">
          <ac:chgData name="Pierre Cavaroc" userId="150eff99-6aed-48f0-b13c-cabd0a4b3ac2" providerId="ADAL" clId="{E623609C-0EF4-4ECB-A655-127E285B354B}" dt="2021-03-21T23:02:37.896" v="6045" actId="27803"/>
          <ac:spMkLst>
            <pc:docMk/>
            <pc:sldMk cId="2136510916" sldId="2134803580"/>
            <ac:spMk id="31" creationId="{DE93A962-16C2-4B88-BCDA-0E439EC23764}"/>
          </ac:spMkLst>
        </pc:spChg>
        <pc:spChg chg="mod">
          <ac:chgData name="Pierre Cavaroc" userId="150eff99-6aed-48f0-b13c-cabd0a4b3ac2" providerId="ADAL" clId="{E623609C-0EF4-4ECB-A655-127E285B354B}" dt="2021-03-21T23:02:37.896" v="6045" actId="27803"/>
          <ac:spMkLst>
            <pc:docMk/>
            <pc:sldMk cId="2136510916" sldId="2134803580"/>
            <ac:spMk id="32" creationId="{F410E5A5-D2A5-4C09-ABE0-AA72F811A67C}"/>
          </ac:spMkLst>
        </pc:spChg>
        <pc:spChg chg="mod">
          <ac:chgData name="Pierre Cavaroc" userId="150eff99-6aed-48f0-b13c-cabd0a4b3ac2" providerId="ADAL" clId="{E623609C-0EF4-4ECB-A655-127E285B354B}" dt="2021-03-21T23:02:37.896" v="6045" actId="27803"/>
          <ac:spMkLst>
            <pc:docMk/>
            <pc:sldMk cId="2136510916" sldId="2134803580"/>
            <ac:spMk id="33" creationId="{9D76D56F-BD6C-4300-B0B2-15343BC72AEE}"/>
          </ac:spMkLst>
        </pc:spChg>
        <pc:spChg chg="mod">
          <ac:chgData name="Pierre Cavaroc" userId="150eff99-6aed-48f0-b13c-cabd0a4b3ac2" providerId="ADAL" clId="{E623609C-0EF4-4ECB-A655-127E285B354B}" dt="2021-03-21T23:02:37.896" v="6045" actId="27803"/>
          <ac:spMkLst>
            <pc:docMk/>
            <pc:sldMk cId="2136510916" sldId="2134803580"/>
            <ac:spMk id="34" creationId="{B5C8F020-BFDC-4205-AEC3-C64C37FCB5A0}"/>
          </ac:spMkLst>
        </pc:spChg>
        <pc:spChg chg="mod">
          <ac:chgData name="Pierre Cavaroc" userId="150eff99-6aed-48f0-b13c-cabd0a4b3ac2" providerId="ADAL" clId="{E623609C-0EF4-4ECB-A655-127E285B354B}" dt="2021-03-21T23:02:37.896" v="6045" actId="27803"/>
          <ac:spMkLst>
            <pc:docMk/>
            <pc:sldMk cId="2136510916" sldId="2134803580"/>
            <ac:spMk id="35" creationId="{AFFC656A-9054-4145-AB77-68375885BE96}"/>
          </ac:spMkLst>
        </pc:spChg>
        <pc:spChg chg="mod">
          <ac:chgData name="Pierre Cavaroc" userId="150eff99-6aed-48f0-b13c-cabd0a4b3ac2" providerId="ADAL" clId="{E623609C-0EF4-4ECB-A655-127E285B354B}" dt="2021-03-21T23:02:37.896" v="6045" actId="27803"/>
          <ac:spMkLst>
            <pc:docMk/>
            <pc:sldMk cId="2136510916" sldId="2134803580"/>
            <ac:spMk id="36" creationId="{21A5550C-E159-4096-AE16-905202BC62E8}"/>
          </ac:spMkLst>
        </pc:spChg>
        <pc:spChg chg="mod">
          <ac:chgData name="Pierre Cavaroc" userId="150eff99-6aed-48f0-b13c-cabd0a4b3ac2" providerId="ADAL" clId="{E623609C-0EF4-4ECB-A655-127E285B354B}" dt="2021-03-21T23:02:37.896" v="6045" actId="27803"/>
          <ac:spMkLst>
            <pc:docMk/>
            <pc:sldMk cId="2136510916" sldId="2134803580"/>
            <ac:spMk id="37" creationId="{077FF722-7507-4049-99B7-5DD1FD1F98AE}"/>
          </ac:spMkLst>
        </pc:spChg>
        <pc:spChg chg="mod">
          <ac:chgData name="Pierre Cavaroc" userId="150eff99-6aed-48f0-b13c-cabd0a4b3ac2" providerId="ADAL" clId="{E623609C-0EF4-4ECB-A655-127E285B354B}" dt="2021-03-21T23:02:37.896" v="6045" actId="27803"/>
          <ac:spMkLst>
            <pc:docMk/>
            <pc:sldMk cId="2136510916" sldId="2134803580"/>
            <ac:spMk id="38" creationId="{D9171F9E-2DB8-41E8-A15C-8E4E7550FA8D}"/>
          </ac:spMkLst>
        </pc:spChg>
        <pc:spChg chg="mod">
          <ac:chgData name="Pierre Cavaroc" userId="150eff99-6aed-48f0-b13c-cabd0a4b3ac2" providerId="ADAL" clId="{E623609C-0EF4-4ECB-A655-127E285B354B}" dt="2021-03-21T23:02:37.896" v="6045" actId="27803"/>
          <ac:spMkLst>
            <pc:docMk/>
            <pc:sldMk cId="2136510916" sldId="2134803580"/>
            <ac:spMk id="39" creationId="{D1C91AE3-DF4C-4546-AB87-67697955545A}"/>
          </ac:spMkLst>
        </pc:spChg>
        <pc:spChg chg="mod">
          <ac:chgData name="Pierre Cavaroc" userId="150eff99-6aed-48f0-b13c-cabd0a4b3ac2" providerId="ADAL" clId="{E623609C-0EF4-4ECB-A655-127E285B354B}" dt="2021-03-21T23:02:37.896" v="6045" actId="27803"/>
          <ac:spMkLst>
            <pc:docMk/>
            <pc:sldMk cId="2136510916" sldId="2134803580"/>
            <ac:spMk id="40" creationId="{CE839982-00E9-401B-AA00-86EA03370252}"/>
          </ac:spMkLst>
        </pc:spChg>
        <pc:spChg chg="mod">
          <ac:chgData name="Pierre Cavaroc" userId="150eff99-6aed-48f0-b13c-cabd0a4b3ac2" providerId="ADAL" clId="{E623609C-0EF4-4ECB-A655-127E285B354B}" dt="2021-03-21T23:02:37.896" v="6045" actId="27803"/>
          <ac:spMkLst>
            <pc:docMk/>
            <pc:sldMk cId="2136510916" sldId="2134803580"/>
            <ac:spMk id="41" creationId="{4F66AC40-97B5-4E5E-A760-38060906990D}"/>
          </ac:spMkLst>
        </pc:spChg>
        <pc:spChg chg="mod">
          <ac:chgData name="Pierre Cavaroc" userId="150eff99-6aed-48f0-b13c-cabd0a4b3ac2" providerId="ADAL" clId="{E623609C-0EF4-4ECB-A655-127E285B354B}" dt="2021-03-21T23:02:37.896" v="6045" actId="27803"/>
          <ac:spMkLst>
            <pc:docMk/>
            <pc:sldMk cId="2136510916" sldId="2134803580"/>
            <ac:spMk id="42" creationId="{31E12687-3B6E-4E3C-B346-53DF1DA9C954}"/>
          </ac:spMkLst>
        </pc:spChg>
        <pc:spChg chg="mod">
          <ac:chgData name="Pierre Cavaroc" userId="150eff99-6aed-48f0-b13c-cabd0a4b3ac2" providerId="ADAL" clId="{E623609C-0EF4-4ECB-A655-127E285B354B}" dt="2021-03-21T23:02:37.896" v="6045" actId="27803"/>
          <ac:spMkLst>
            <pc:docMk/>
            <pc:sldMk cId="2136510916" sldId="2134803580"/>
            <ac:spMk id="43" creationId="{CD727651-EFD0-4864-A96E-C68762526573}"/>
          </ac:spMkLst>
        </pc:spChg>
        <pc:spChg chg="mod">
          <ac:chgData name="Pierre Cavaroc" userId="150eff99-6aed-48f0-b13c-cabd0a4b3ac2" providerId="ADAL" clId="{E623609C-0EF4-4ECB-A655-127E285B354B}" dt="2021-03-21T23:02:37.896" v="6045" actId="27803"/>
          <ac:spMkLst>
            <pc:docMk/>
            <pc:sldMk cId="2136510916" sldId="2134803580"/>
            <ac:spMk id="44" creationId="{06768F5E-92F9-446A-8CC6-C7AD212AD52D}"/>
          </ac:spMkLst>
        </pc:spChg>
        <pc:spChg chg="mod">
          <ac:chgData name="Pierre Cavaroc" userId="150eff99-6aed-48f0-b13c-cabd0a4b3ac2" providerId="ADAL" clId="{E623609C-0EF4-4ECB-A655-127E285B354B}" dt="2021-03-21T23:02:37.896" v="6045" actId="27803"/>
          <ac:spMkLst>
            <pc:docMk/>
            <pc:sldMk cId="2136510916" sldId="2134803580"/>
            <ac:spMk id="45" creationId="{3BEBFF97-5492-4A47-93BC-C771EA62969D}"/>
          </ac:spMkLst>
        </pc:spChg>
        <pc:spChg chg="mod">
          <ac:chgData name="Pierre Cavaroc" userId="150eff99-6aed-48f0-b13c-cabd0a4b3ac2" providerId="ADAL" clId="{E623609C-0EF4-4ECB-A655-127E285B354B}" dt="2021-03-21T23:02:37.896" v="6045" actId="27803"/>
          <ac:spMkLst>
            <pc:docMk/>
            <pc:sldMk cId="2136510916" sldId="2134803580"/>
            <ac:spMk id="46" creationId="{921648D1-AD0F-460F-8B18-C4A257A0FA4D}"/>
          </ac:spMkLst>
        </pc:spChg>
        <pc:spChg chg="mod">
          <ac:chgData name="Pierre Cavaroc" userId="150eff99-6aed-48f0-b13c-cabd0a4b3ac2" providerId="ADAL" clId="{E623609C-0EF4-4ECB-A655-127E285B354B}" dt="2021-03-21T23:02:37.896" v="6045" actId="27803"/>
          <ac:spMkLst>
            <pc:docMk/>
            <pc:sldMk cId="2136510916" sldId="2134803580"/>
            <ac:spMk id="47" creationId="{8001E34B-9582-4732-8231-D742EA4556B2}"/>
          </ac:spMkLst>
        </pc:spChg>
        <pc:spChg chg="mod">
          <ac:chgData name="Pierre Cavaroc" userId="150eff99-6aed-48f0-b13c-cabd0a4b3ac2" providerId="ADAL" clId="{E623609C-0EF4-4ECB-A655-127E285B354B}" dt="2021-03-21T23:02:37.896" v="6045" actId="27803"/>
          <ac:spMkLst>
            <pc:docMk/>
            <pc:sldMk cId="2136510916" sldId="2134803580"/>
            <ac:spMk id="48" creationId="{9F28E923-E833-4EA1-8CA0-3FFB19999C20}"/>
          </ac:spMkLst>
        </pc:spChg>
        <pc:spChg chg="mod">
          <ac:chgData name="Pierre Cavaroc" userId="150eff99-6aed-48f0-b13c-cabd0a4b3ac2" providerId="ADAL" clId="{E623609C-0EF4-4ECB-A655-127E285B354B}" dt="2021-03-21T23:02:37.896" v="6045" actId="27803"/>
          <ac:spMkLst>
            <pc:docMk/>
            <pc:sldMk cId="2136510916" sldId="2134803580"/>
            <ac:spMk id="49" creationId="{C8CFAFC3-1101-41CB-B2D7-6CB8F34647F4}"/>
          </ac:spMkLst>
        </pc:spChg>
        <pc:spChg chg="mod">
          <ac:chgData name="Pierre Cavaroc" userId="150eff99-6aed-48f0-b13c-cabd0a4b3ac2" providerId="ADAL" clId="{E623609C-0EF4-4ECB-A655-127E285B354B}" dt="2021-03-21T23:02:37.896" v="6045" actId="27803"/>
          <ac:spMkLst>
            <pc:docMk/>
            <pc:sldMk cId="2136510916" sldId="2134803580"/>
            <ac:spMk id="50" creationId="{622C1760-766B-4FD7-9DA3-1D07A6CE2E70}"/>
          </ac:spMkLst>
        </pc:spChg>
        <pc:spChg chg="mod">
          <ac:chgData name="Pierre Cavaroc" userId="150eff99-6aed-48f0-b13c-cabd0a4b3ac2" providerId="ADAL" clId="{E623609C-0EF4-4ECB-A655-127E285B354B}" dt="2021-03-21T23:02:37.896" v="6045" actId="27803"/>
          <ac:spMkLst>
            <pc:docMk/>
            <pc:sldMk cId="2136510916" sldId="2134803580"/>
            <ac:spMk id="51" creationId="{88CFAE80-FE40-4ACB-A81C-3FD32ECAF8A6}"/>
          </ac:spMkLst>
        </pc:spChg>
        <pc:spChg chg="mod">
          <ac:chgData name="Pierre Cavaroc" userId="150eff99-6aed-48f0-b13c-cabd0a4b3ac2" providerId="ADAL" clId="{E623609C-0EF4-4ECB-A655-127E285B354B}" dt="2021-03-21T23:02:37.896" v="6045" actId="27803"/>
          <ac:spMkLst>
            <pc:docMk/>
            <pc:sldMk cId="2136510916" sldId="2134803580"/>
            <ac:spMk id="52" creationId="{377DC875-2CE5-4E2B-BC10-BFE4B43E660D}"/>
          </ac:spMkLst>
        </pc:spChg>
        <pc:spChg chg="mod">
          <ac:chgData name="Pierre Cavaroc" userId="150eff99-6aed-48f0-b13c-cabd0a4b3ac2" providerId="ADAL" clId="{E623609C-0EF4-4ECB-A655-127E285B354B}" dt="2021-03-21T23:02:37.896" v="6045" actId="27803"/>
          <ac:spMkLst>
            <pc:docMk/>
            <pc:sldMk cId="2136510916" sldId="2134803580"/>
            <ac:spMk id="53" creationId="{7FFB753D-2AEB-438E-98CF-6439E719893C}"/>
          </ac:spMkLst>
        </pc:spChg>
        <pc:spChg chg="mod">
          <ac:chgData name="Pierre Cavaroc" userId="150eff99-6aed-48f0-b13c-cabd0a4b3ac2" providerId="ADAL" clId="{E623609C-0EF4-4ECB-A655-127E285B354B}" dt="2021-03-21T23:02:37.896" v="6045" actId="27803"/>
          <ac:spMkLst>
            <pc:docMk/>
            <pc:sldMk cId="2136510916" sldId="2134803580"/>
            <ac:spMk id="54" creationId="{6686FB0F-D748-4492-B90D-6301F69D3D7C}"/>
          </ac:spMkLst>
        </pc:spChg>
        <pc:spChg chg="mod">
          <ac:chgData name="Pierre Cavaroc" userId="150eff99-6aed-48f0-b13c-cabd0a4b3ac2" providerId="ADAL" clId="{E623609C-0EF4-4ECB-A655-127E285B354B}" dt="2021-03-21T23:02:37.896" v="6045" actId="27803"/>
          <ac:spMkLst>
            <pc:docMk/>
            <pc:sldMk cId="2136510916" sldId="2134803580"/>
            <ac:spMk id="55" creationId="{3641D9DA-1654-4251-91E5-77E422264A29}"/>
          </ac:spMkLst>
        </pc:spChg>
        <pc:spChg chg="mod">
          <ac:chgData name="Pierre Cavaroc" userId="150eff99-6aed-48f0-b13c-cabd0a4b3ac2" providerId="ADAL" clId="{E623609C-0EF4-4ECB-A655-127E285B354B}" dt="2021-03-21T23:02:37.896" v="6045" actId="27803"/>
          <ac:spMkLst>
            <pc:docMk/>
            <pc:sldMk cId="2136510916" sldId="2134803580"/>
            <ac:spMk id="56" creationId="{EFBAB2E9-05DA-441C-8ADB-0EBB0EBDE8B7}"/>
          </ac:spMkLst>
        </pc:spChg>
        <pc:spChg chg="mod">
          <ac:chgData name="Pierre Cavaroc" userId="150eff99-6aed-48f0-b13c-cabd0a4b3ac2" providerId="ADAL" clId="{E623609C-0EF4-4ECB-A655-127E285B354B}" dt="2021-03-21T23:02:37.896" v="6045" actId="27803"/>
          <ac:spMkLst>
            <pc:docMk/>
            <pc:sldMk cId="2136510916" sldId="2134803580"/>
            <ac:spMk id="57" creationId="{349318B9-1340-4C67-8961-77A6A0822D13}"/>
          </ac:spMkLst>
        </pc:spChg>
        <pc:spChg chg="mod">
          <ac:chgData name="Pierre Cavaroc" userId="150eff99-6aed-48f0-b13c-cabd0a4b3ac2" providerId="ADAL" clId="{E623609C-0EF4-4ECB-A655-127E285B354B}" dt="2021-03-21T23:02:37.896" v="6045" actId="27803"/>
          <ac:spMkLst>
            <pc:docMk/>
            <pc:sldMk cId="2136510916" sldId="2134803580"/>
            <ac:spMk id="58" creationId="{9C5EE4C6-8A4C-4FD4-B0B2-5890550B44EA}"/>
          </ac:spMkLst>
        </pc:spChg>
        <pc:spChg chg="mod">
          <ac:chgData name="Pierre Cavaroc" userId="150eff99-6aed-48f0-b13c-cabd0a4b3ac2" providerId="ADAL" clId="{E623609C-0EF4-4ECB-A655-127E285B354B}" dt="2021-03-21T23:02:37.896" v="6045" actId="27803"/>
          <ac:spMkLst>
            <pc:docMk/>
            <pc:sldMk cId="2136510916" sldId="2134803580"/>
            <ac:spMk id="59" creationId="{21FCF612-547D-456E-B4C6-80AB94A2C5A5}"/>
          </ac:spMkLst>
        </pc:spChg>
        <pc:spChg chg="mod">
          <ac:chgData name="Pierre Cavaroc" userId="150eff99-6aed-48f0-b13c-cabd0a4b3ac2" providerId="ADAL" clId="{E623609C-0EF4-4ECB-A655-127E285B354B}" dt="2021-03-21T23:02:37.896" v="6045" actId="27803"/>
          <ac:spMkLst>
            <pc:docMk/>
            <pc:sldMk cId="2136510916" sldId="2134803580"/>
            <ac:spMk id="60" creationId="{3D188625-322C-46A9-A96A-2EBA4DA3E3CF}"/>
          </ac:spMkLst>
        </pc:spChg>
        <pc:spChg chg="mod">
          <ac:chgData name="Pierre Cavaroc" userId="150eff99-6aed-48f0-b13c-cabd0a4b3ac2" providerId="ADAL" clId="{E623609C-0EF4-4ECB-A655-127E285B354B}" dt="2021-03-21T23:02:37.896" v="6045" actId="27803"/>
          <ac:spMkLst>
            <pc:docMk/>
            <pc:sldMk cId="2136510916" sldId="2134803580"/>
            <ac:spMk id="61" creationId="{90191627-A9B9-4F04-8F59-4B06FBB530F3}"/>
          </ac:spMkLst>
        </pc:spChg>
        <pc:spChg chg="mod">
          <ac:chgData name="Pierre Cavaroc" userId="150eff99-6aed-48f0-b13c-cabd0a4b3ac2" providerId="ADAL" clId="{E623609C-0EF4-4ECB-A655-127E285B354B}" dt="2021-03-21T23:02:37.896" v="6045" actId="27803"/>
          <ac:spMkLst>
            <pc:docMk/>
            <pc:sldMk cId="2136510916" sldId="2134803580"/>
            <ac:spMk id="62" creationId="{47AB9108-2116-4C0B-9791-B9FEC0F5A6A5}"/>
          </ac:spMkLst>
        </pc:spChg>
        <pc:spChg chg="mod">
          <ac:chgData name="Pierre Cavaroc" userId="150eff99-6aed-48f0-b13c-cabd0a4b3ac2" providerId="ADAL" clId="{E623609C-0EF4-4ECB-A655-127E285B354B}" dt="2021-03-21T23:02:37.896" v="6045" actId="27803"/>
          <ac:spMkLst>
            <pc:docMk/>
            <pc:sldMk cId="2136510916" sldId="2134803580"/>
            <ac:spMk id="63" creationId="{984AD948-86CE-475B-ABE5-46C03E3E1208}"/>
          </ac:spMkLst>
        </pc:spChg>
        <pc:spChg chg="mod">
          <ac:chgData name="Pierre Cavaroc" userId="150eff99-6aed-48f0-b13c-cabd0a4b3ac2" providerId="ADAL" clId="{E623609C-0EF4-4ECB-A655-127E285B354B}" dt="2021-03-21T23:02:37.896" v="6045" actId="27803"/>
          <ac:spMkLst>
            <pc:docMk/>
            <pc:sldMk cId="2136510916" sldId="2134803580"/>
            <ac:spMk id="64" creationId="{CF495242-4548-4B62-8D48-7149C9CEFE20}"/>
          </ac:spMkLst>
        </pc:spChg>
        <pc:spChg chg="mod">
          <ac:chgData name="Pierre Cavaroc" userId="150eff99-6aed-48f0-b13c-cabd0a4b3ac2" providerId="ADAL" clId="{E623609C-0EF4-4ECB-A655-127E285B354B}" dt="2021-03-21T23:02:37.896" v="6045" actId="27803"/>
          <ac:spMkLst>
            <pc:docMk/>
            <pc:sldMk cId="2136510916" sldId="2134803580"/>
            <ac:spMk id="65" creationId="{252F72F0-C6C7-4832-AF4E-E89EC6F39404}"/>
          </ac:spMkLst>
        </pc:spChg>
        <pc:spChg chg="mod">
          <ac:chgData name="Pierre Cavaroc" userId="150eff99-6aed-48f0-b13c-cabd0a4b3ac2" providerId="ADAL" clId="{E623609C-0EF4-4ECB-A655-127E285B354B}" dt="2021-03-21T23:02:37.896" v="6045" actId="27803"/>
          <ac:spMkLst>
            <pc:docMk/>
            <pc:sldMk cId="2136510916" sldId="2134803580"/>
            <ac:spMk id="66" creationId="{35D753D2-3EE7-47E8-89A8-C25701DCD1C5}"/>
          </ac:spMkLst>
        </pc:spChg>
        <pc:spChg chg="mod">
          <ac:chgData name="Pierre Cavaroc" userId="150eff99-6aed-48f0-b13c-cabd0a4b3ac2" providerId="ADAL" clId="{E623609C-0EF4-4ECB-A655-127E285B354B}" dt="2021-03-21T23:02:37.896" v="6045" actId="27803"/>
          <ac:spMkLst>
            <pc:docMk/>
            <pc:sldMk cId="2136510916" sldId="2134803580"/>
            <ac:spMk id="67" creationId="{A5ECB8D6-6231-4539-8B84-1BB482D5B2E4}"/>
          </ac:spMkLst>
        </pc:spChg>
        <pc:spChg chg="mod">
          <ac:chgData name="Pierre Cavaroc" userId="150eff99-6aed-48f0-b13c-cabd0a4b3ac2" providerId="ADAL" clId="{E623609C-0EF4-4ECB-A655-127E285B354B}" dt="2021-03-21T23:02:37.896" v="6045" actId="27803"/>
          <ac:spMkLst>
            <pc:docMk/>
            <pc:sldMk cId="2136510916" sldId="2134803580"/>
            <ac:spMk id="68" creationId="{3038149D-1D17-4086-B3CF-B05AD26D2F3C}"/>
          </ac:spMkLst>
        </pc:spChg>
        <pc:spChg chg="mod">
          <ac:chgData name="Pierre Cavaroc" userId="150eff99-6aed-48f0-b13c-cabd0a4b3ac2" providerId="ADAL" clId="{E623609C-0EF4-4ECB-A655-127E285B354B}" dt="2021-03-21T23:02:37.896" v="6045" actId="27803"/>
          <ac:spMkLst>
            <pc:docMk/>
            <pc:sldMk cId="2136510916" sldId="2134803580"/>
            <ac:spMk id="69" creationId="{73DB4266-1C6D-46C9-A940-6ADA0A55BD6C}"/>
          </ac:spMkLst>
        </pc:spChg>
        <pc:spChg chg="mod">
          <ac:chgData name="Pierre Cavaroc" userId="150eff99-6aed-48f0-b13c-cabd0a4b3ac2" providerId="ADAL" clId="{E623609C-0EF4-4ECB-A655-127E285B354B}" dt="2021-03-21T23:02:37.896" v="6045" actId="27803"/>
          <ac:spMkLst>
            <pc:docMk/>
            <pc:sldMk cId="2136510916" sldId="2134803580"/>
            <ac:spMk id="70" creationId="{BFB846D4-9E31-4068-B9C4-71933B992087}"/>
          </ac:spMkLst>
        </pc:spChg>
        <pc:spChg chg="mod">
          <ac:chgData name="Pierre Cavaroc" userId="150eff99-6aed-48f0-b13c-cabd0a4b3ac2" providerId="ADAL" clId="{E623609C-0EF4-4ECB-A655-127E285B354B}" dt="2021-03-21T23:02:37.896" v="6045" actId="27803"/>
          <ac:spMkLst>
            <pc:docMk/>
            <pc:sldMk cId="2136510916" sldId="2134803580"/>
            <ac:spMk id="71" creationId="{7CEB954F-3EB5-4BE4-8FE4-A0216633A84F}"/>
          </ac:spMkLst>
        </pc:spChg>
        <pc:spChg chg="mod">
          <ac:chgData name="Pierre Cavaroc" userId="150eff99-6aed-48f0-b13c-cabd0a4b3ac2" providerId="ADAL" clId="{E623609C-0EF4-4ECB-A655-127E285B354B}" dt="2021-03-21T23:02:37.896" v="6045" actId="27803"/>
          <ac:spMkLst>
            <pc:docMk/>
            <pc:sldMk cId="2136510916" sldId="2134803580"/>
            <ac:spMk id="72" creationId="{CA7BC4AD-8EB7-46D4-AF6E-6F99D14267FB}"/>
          </ac:spMkLst>
        </pc:spChg>
        <pc:spChg chg="mod">
          <ac:chgData name="Pierre Cavaroc" userId="150eff99-6aed-48f0-b13c-cabd0a4b3ac2" providerId="ADAL" clId="{E623609C-0EF4-4ECB-A655-127E285B354B}" dt="2021-03-21T23:02:37.896" v="6045" actId="27803"/>
          <ac:spMkLst>
            <pc:docMk/>
            <pc:sldMk cId="2136510916" sldId="2134803580"/>
            <ac:spMk id="73" creationId="{B77C9FEF-84CB-4607-BBCB-65272E799FB0}"/>
          </ac:spMkLst>
        </pc:spChg>
        <pc:spChg chg="mod">
          <ac:chgData name="Pierre Cavaroc" userId="150eff99-6aed-48f0-b13c-cabd0a4b3ac2" providerId="ADAL" clId="{E623609C-0EF4-4ECB-A655-127E285B354B}" dt="2021-03-21T23:02:37.896" v="6045" actId="27803"/>
          <ac:spMkLst>
            <pc:docMk/>
            <pc:sldMk cId="2136510916" sldId="2134803580"/>
            <ac:spMk id="74" creationId="{AF5B2F80-3057-4022-AFFA-6ED154A8E693}"/>
          </ac:spMkLst>
        </pc:spChg>
        <pc:spChg chg="mod">
          <ac:chgData name="Pierre Cavaroc" userId="150eff99-6aed-48f0-b13c-cabd0a4b3ac2" providerId="ADAL" clId="{E623609C-0EF4-4ECB-A655-127E285B354B}" dt="2021-03-21T23:02:37.896" v="6045" actId="27803"/>
          <ac:spMkLst>
            <pc:docMk/>
            <pc:sldMk cId="2136510916" sldId="2134803580"/>
            <ac:spMk id="75" creationId="{27B9A01E-187A-4C53-9B98-C8701A2F1FE5}"/>
          </ac:spMkLst>
        </pc:spChg>
        <pc:spChg chg="mod">
          <ac:chgData name="Pierre Cavaroc" userId="150eff99-6aed-48f0-b13c-cabd0a4b3ac2" providerId="ADAL" clId="{E623609C-0EF4-4ECB-A655-127E285B354B}" dt="2021-03-21T23:02:37.896" v="6045" actId="27803"/>
          <ac:spMkLst>
            <pc:docMk/>
            <pc:sldMk cId="2136510916" sldId="2134803580"/>
            <ac:spMk id="76" creationId="{820D505F-6A6E-4A3E-9EC9-453F51F4551D}"/>
          </ac:spMkLst>
        </pc:spChg>
        <pc:spChg chg="mod">
          <ac:chgData name="Pierre Cavaroc" userId="150eff99-6aed-48f0-b13c-cabd0a4b3ac2" providerId="ADAL" clId="{E623609C-0EF4-4ECB-A655-127E285B354B}" dt="2021-03-21T23:02:37.896" v="6045" actId="27803"/>
          <ac:spMkLst>
            <pc:docMk/>
            <pc:sldMk cId="2136510916" sldId="2134803580"/>
            <ac:spMk id="77" creationId="{5BF3E662-850B-4642-A555-F5B29F9F6A96}"/>
          </ac:spMkLst>
        </pc:spChg>
        <pc:spChg chg="mod">
          <ac:chgData name="Pierre Cavaroc" userId="150eff99-6aed-48f0-b13c-cabd0a4b3ac2" providerId="ADAL" clId="{E623609C-0EF4-4ECB-A655-127E285B354B}" dt="2021-03-21T23:02:37.896" v="6045" actId="27803"/>
          <ac:spMkLst>
            <pc:docMk/>
            <pc:sldMk cId="2136510916" sldId="2134803580"/>
            <ac:spMk id="78" creationId="{683B966C-A020-4F63-B238-A349568D2691}"/>
          </ac:spMkLst>
        </pc:spChg>
        <pc:spChg chg="mod">
          <ac:chgData name="Pierre Cavaroc" userId="150eff99-6aed-48f0-b13c-cabd0a4b3ac2" providerId="ADAL" clId="{E623609C-0EF4-4ECB-A655-127E285B354B}" dt="2021-03-21T23:02:37.896" v="6045" actId="27803"/>
          <ac:spMkLst>
            <pc:docMk/>
            <pc:sldMk cId="2136510916" sldId="2134803580"/>
            <ac:spMk id="79" creationId="{FA40377D-385C-4279-B8FC-755888620BFE}"/>
          </ac:spMkLst>
        </pc:spChg>
        <pc:spChg chg="mod">
          <ac:chgData name="Pierre Cavaroc" userId="150eff99-6aed-48f0-b13c-cabd0a4b3ac2" providerId="ADAL" clId="{E623609C-0EF4-4ECB-A655-127E285B354B}" dt="2021-03-21T23:02:37.896" v="6045" actId="27803"/>
          <ac:spMkLst>
            <pc:docMk/>
            <pc:sldMk cId="2136510916" sldId="2134803580"/>
            <ac:spMk id="80" creationId="{8A4CF454-F82B-4A23-B8BA-5F752DF93F15}"/>
          </ac:spMkLst>
        </pc:spChg>
        <pc:spChg chg="mod">
          <ac:chgData name="Pierre Cavaroc" userId="150eff99-6aed-48f0-b13c-cabd0a4b3ac2" providerId="ADAL" clId="{E623609C-0EF4-4ECB-A655-127E285B354B}" dt="2021-03-21T23:02:37.896" v="6045" actId="27803"/>
          <ac:spMkLst>
            <pc:docMk/>
            <pc:sldMk cId="2136510916" sldId="2134803580"/>
            <ac:spMk id="81" creationId="{9C850F12-EAAB-47D7-BF25-0D45CEAA1BD5}"/>
          </ac:spMkLst>
        </pc:spChg>
        <pc:spChg chg="mod">
          <ac:chgData name="Pierre Cavaroc" userId="150eff99-6aed-48f0-b13c-cabd0a4b3ac2" providerId="ADAL" clId="{E623609C-0EF4-4ECB-A655-127E285B354B}" dt="2021-03-21T23:02:37.896" v="6045" actId="27803"/>
          <ac:spMkLst>
            <pc:docMk/>
            <pc:sldMk cId="2136510916" sldId="2134803580"/>
            <ac:spMk id="82" creationId="{44208AFC-1065-4DE9-BB5A-A0AA49CCD45B}"/>
          </ac:spMkLst>
        </pc:spChg>
        <pc:spChg chg="mod">
          <ac:chgData name="Pierre Cavaroc" userId="150eff99-6aed-48f0-b13c-cabd0a4b3ac2" providerId="ADAL" clId="{E623609C-0EF4-4ECB-A655-127E285B354B}" dt="2021-03-21T23:02:37.896" v="6045" actId="27803"/>
          <ac:spMkLst>
            <pc:docMk/>
            <pc:sldMk cId="2136510916" sldId="2134803580"/>
            <ac:spMk id="83" creationId="{07E3D566-E7E8-400E-861B-46E2552CB543}"/>
          </ac:spMkLst>
        </pc:spChg>
        <pc:spChg chg="mod">
          <ac:chgData name="Pierre Cavaroc" userId="150eff99-6aed-48f0-b13c-cabd0a4b3ac2" providerId="ADAL" clId="{E623609C-0EF4-4ECB-A655-127E285B354B}" dt="2021-03-21T23:02:37.896" v="6045" actId="27803"/>
          <ac:spMkLst>
            <pc:docMk/>
            <pc:sldMk cId="2136510916" sldId="2134803580"/>
            <ac:spMk id="84" creationId="{DD965D1A-6808-47D0-BDEC-090713992D1D}"/>
          </ac:spMkLst>
        </pc:spChg>
        <pc:spChg chg="mod">
          <ac:chgData name="Pierre Cavaroc" userId="150eff99-6aed-48f0-b13c-cabd0a4b3ac2" providerId="ADAL" clId="{E623609C-0EF4-4ECB-A655-127E285B354B}" dt="2021-03-21T23:02:37.896" v="6045" actId="27803"/>
          <ac:spMkLst>
            <pc:docMk/>
            <pc:sldMk cId="2136510916" sldId="2134803580"/>
            <ac:spMk id="85" creationId="{2C1CDC5A-6C1F-41F7-B2C1-3CC455F01976}"/>
          </ac:spMkLst>
        </pc:spChg>
        <pc:spChg chg="mod">
          <ac:chgData name="Pierre Cavaroc" userId="150eff99-6aed-48f0-b13c-cabd0a4b3ac2" providerId="ADAL" clId="{E623609C-0EF4-4ECB-A655-127E285B354B}" dt="2021-03-21T23:02:37.896" v="6045" actId="27803"/>
          <ac:spMkLst>
            <pc:docMk/>
            <pc:sldMk cId="2136510916" sldId="2134803580"/>
            <ac:spMk id="86" creationId="{CCDAC75A-37D0-4056-983D-3FF972A6D8BB}"/>
          </ac:spMkLst>
        </pc:spChg>
        <pc:spChg chg="mod">
          <ac:chgData name="Pierre Cavaroc" userId="150eff99-6aed-48f0-b13c-cabd0a4b3ac2" providerId="ADAL" clId="{E623609C-0EF4-4ECB-A655-127E285B354B}" dt="2021-03-21T23:02:37.896" v="6045" actId="27803"/>
          <ac:spMkLst>
            <pc:docMk/>
            <pc:sldMk cId="2136510916" sldId="2134803580"/>
            <ac:spMk id="87" creationId="{41AEF286-6739-4573-AB03-E06182C8AD6C}"/>
          </ac:spMkLst>
        </pc:spChg>
        <pc:spChg chg="mod">
          <ac:chgData name="Pierre Cavaroc" userId="150eff99-6aed-48f0-b13c-cabd0a4b3ac2" providerId="ADAL" clId="{E623609C-0EF4-4ECB-A655-127E285B354B}" dt="2021-03-21T23:02:37.896" v="6045" actId="27803"/>
          <ac:spMkLst>
            <pc:docMk/>
            <pc:sldMk cId="2136510916" sldId="2134803580"/>
            <ac:spMk id="88" creationId="{C8342E04-861D-4412-B89F-540AA6405DE5}"/>
          </ac:spMkLst>
        </pc:spChg>
        <pc:spChg chg="mod">
          <ac:chgData name="Pierre Cavaroc" userId="150eff99-6aed-48f0-b13c-cabd0a4b3ac2" providerId="ADAL" clId="{E623609C-0EF4-4ECB-A655-127E285B354B}" dt="2021-03-21T23:02:37.896" v="6045" actId="27803"/>
          <ac:spMkLst>
            <pc:docMk/>
            <pc:sldMk cId="2136510916" sldId="2134803580"/>
            <ac:spMk id="89" creationId="{0F3943BE-E26A-49E7-96C1-9A19FA1BEA74}"/>
          </ac:spMkLst>
        </pc:spChg>
        <pc:spChg chg="mod">
          <ac:chgData name="Pierre Cavaroc" userId="150eff99-6aed-48f0-b13c-cabd0a4b3ac2" providerId="ADAL" clId="{E623609C-0EF4-4ECB-A655-127E285B354B}" dt="2021-03-21T23:02:37.896" v="6045" actId="27803"/>
          <ac:spMkLst>
            <pc:docMk/>
            <pc:sldMk cId="2136510916" sldId="2134803580"/>
            <ac:spMk id="90" creationId="{2E8ED5E4-8994-4FC6-9BC9-164209924555}"/>
          </ac:spMkLst>
        </pc:spChg>
        <pc:spChg chg="mod">
          <ac:chgData name="Pierre Cavaroc" userId="150eff99-6aed-48f0-b13c-cabd0a4b3ac2" providerId="ADAL" clId="{E623609C-0EF4-4ECB-A655-127E285B354B}" dt="2021-03-21T23:02:37.896" v="6045" actId="27803"/>
          <ac:spMkLst>
            <pc:docMk/>
            <pc:sldMk cId="2136510916" sldId="2134803580"/>
            <ac:spMk id="91" creationId="{7C06B139-E32F-446B-9B5D-357CFBBC7BB1}"/>
          </ac:spMkLst>
        </pc:spChg>
        <pc:spChg chg="mod">
          <ac:chgData name="Pierre Cavaroc" userId="150eff99-6aed-48f0-b13c-cabd0a4b3ac2" providerId="ADAL" clId="{E623609C-0EF4-4ECB-A655-127E285B354B}" dt="2021-03-21T23:02:37.896" v="6045" actId="27803"/>
          <ac:spMkLst>
            <pc:docMk/>
            <pc:sldMk cId="2136510916" sldId="2134803580"/>
            <ac:spMk id="92" creationId="{5B62CFC5-D8CA-4AAE-8291-3FF3E8DFF648}"/>
          </ac:spMkLst>
        </pc:spChg>
        <pc:spChg chg="mod">
          <ac:chgData name="Pierre Cavaroc" userId="150eff99-6aed-48f0-b13c-cabd0a4b3ac2" providerId="ADAL" clId="{E623609C-0EF4-4ECB-A655-127E285B354B}" dt="2021-03-21T23:02:37.896" v="6045" actId="27803"/>
          <ac:spMkLst>
            <pc:docMk/>
            <pc:sldMk cId="2136510916" sldId="2134803580"/>
            <ac:spMk id="93" creationId="{3CAC194D-79FC-4B80-8BE7-A70460B20513}"/>
          </ac:spMkLst>
        </pc:spChg>
        <pc:spChg chg="mod">
          <ac:chgData name="Pierre Cavaroc" userId="150eff99-6aed-48f0-b13c-cabd0a4b3ac2" providerId="ADAL" clId="{E623609C-0EF4-4ECB-A655-127E285B354B}" dt="2021-03-21T23:02:37.896" v="6045" actId="27803"/>
          <ac:spMkLst>
            <pc:docMk/>
            <pc:sldMk cId="2136510916" sldId="2134803580"/>
            <ac:spMk id="94" creationId="{F616BBF8-D6E9-4EC3-A30A-6C3F8D27F8F3}"/>
          </ac:spMkLst>
        </pc:spChg>
        <pc:spChg chg="mod">
          <ac:chgData name="Pierre Cavaroc" userId="150eff99-6aed-48f0-b13c-cabd0a4b3ac2" providerId="ADAL" clId="{E623609C-0EF4-4ECB-A655-127E285B354B}" dt="2021-03-21T23:02:37.896" v="6045" actId="27803"/>
          <ac:spMkLst>
            <pc:docMk/>
            <pc:sldMk cId="2136510916" sldId="2134803580"/>
            <ac:spMk id="95" creationId="{E4C233FD-EA6B-4402-9215-5C7354F7CD61}"/>
          </ac:spMkLst>
        </pc:spChg>
        <pc:spChg chg="mod">
          <ac:chgData name="Pierre Cavaroc" userId="150eff99-6aed-48f0-b13c-cabd0a4b3ac2" providerId="ADAL" clId="{E623609C-0EF4-4ECB-A655-127E285B354B}" dt="2021-03-21T23:02:37.896" v="6045" actId="27803"/>
          <ac:spMkLst>
            <pc:docMk/>
            <pc:sldMk cId="2136510916" sldId="2134803580"/>
            <ac:spMk id="96" creationId="{56264479-828E-47BF-AF89-C072CDE3CCA7}"/>
          </ac:spMkLst>
        </pc:spChg>
        <pc:spChg chg="mod">
          <ac:chgData name="Pierre Cavaroc" userId="150eff99-6aed-48f0-b13c-cabd0a4b3ac2" providerId="ADAL" clId="{E623609C-0EF4-4ECB-A655-127E285B354B}" dt="2021-03-21T23:02:37.896" v="6045" actId="27803"/>
          <ac:spMkLst>
            <pc:docMk/>
            <pc:sldMk cId="2136510916" sldId="2134803580"/>
            <ac:spMk id="97" creationId="{7636F009-5584-43EB-9188-474A79E93F29}"/>
          </ac:spMkLst>
        </pc:spChg>
        <pc:spChg chg="mod">
          <ac:chgData name="Pierre Cavaroc" userId="150eff99-6aed-48f0-b13c-cabd0a4b3ac2" providerId="ADAL" clId="{E623609C-0EF4-4ECB-A655-127E285B354B}" dt="2021-03-21T23:02:37.896" v="6045" actId="27803"/>
          <ac:spMkLst>
            <pc:docMk/>
            <pc:sldMk cId="2136510916" sldId="2134803580"/>
            <ac:spMk id="98" creationId="{9D4C06EB-030D-4AF2-B6BE-B1D811C79A5B}"/>
          </ac:spMkLst>
        </pc:spChg>
        <pc:spChg chg="mod">
          <ac:chgData name="Pierre Cavaroc" userId="150eff99-6aed-48f0-b13c-cabd0a4b3ac2" providerId="ADAL" clId="{E623609C-0EF4-4ECB-A655-127E285B354B}" dt="2021-03-21T23:02:37.896" v="6045" actId="27803"/>
          <ac:spMkLst>
            <pc:docMk/>
            <pc:sldMk cId="2136510916" sldId="2134803580"/>
            <ac:spMk id="99" creationId="{91CA69AB-C81D-4752-B487-54DFAE2EB738}"/>
          </ac:spMkLst>
        </pc:spChg>
        <pc:spChg chg="mod">
          <ac:chgData name="Pierre Cavaroc" userId="150eff99-6aed-48f0-b13c-cabd0a4b3ac2" providerId="ADAL" clId="{E623609C-0EF4-4ECB-A655-127E285B354B}" dt="2021-03-21T23:02:37.896" v="6045" actId="27803"/>
          <ac:spMkLst>
            <pc:docMk/>
            <pc:sldMk cId="2136510916" sldId="2134803580"/>
            <ac:spMk id="100" creationId="{E678335C-8B7B-4982-A6C3-AB7750AE5B77}"/>
          </ac:spMkLst>
        </pc:spChg>
        <pc:spChg chg="mod">
          <ac:chgData name="Pierre Cavaroc" userId="150eff99-6aed-48f0-b13c-cabd0a4b3ac2" providerId="ADAL" clId="{E623609C-0EF4-4ECB-A655-127E285B354B}" dt="2021-03-21T23:02:37.896" v="6045" actId="27803"/>
          <ac:spMkLst>
            <pc:docMk/>
            <pc:sldMk cId="2136510916" sldId="2134803580"/>
            <ac:spMk id="101" creationId="{526A09BB-0585-4EFC-B7D4-52387DAAFA78}"/>
          </ac:spMkLst>
        </pc:spChg>
        <pc:spChg chg="mod">
          <ac:chgData name="Pierre Cavaroc" userId="150eff99-6aed-48f0-b13c-cabd0a4b3ac2" providerId="ADAL" clId="{E623609C-0EF4-4ECB-A655-127E285B354B}" dt="2021-03-21T23:02:37.896" v="6045" actId="27803"/>
          <ac:spMkLst>
            <pc:docMk/>
            <pc:sldMk cId="2136510916" sldId="2134803580"/>
            <ac:spMk id="102" creationId="{F18BBF37-FA34-4BFD-8C30-98710BB840C1}"/>
          </ac:spMkLst>
        </pc:spChg>
        <pc:spChg chg="mod">
          <ac:chgData name="Pierre Cavaroc" userId="150eff99-6aed-48f0-b13c-cabd0a4b3ac2" providerId="ADAL" clId="{E623609C-0EF4-4ECB-A655-127E285B354B}" dt="2021-03-21T23:02:37.896" v="6045" actId="27803"/>
          <ac:spMkLst>
            <pc:docMk/>
            <pc:sldMk cId="2136510916" sldId="2134803580"/>
            <ac:spMk id="103" creationId="{2D86F346-288E-44B0-81A4-6FF0979DA329}"/>
          </ac:spMkLst>
        </pc:spChg>
        <pc:spChg chg="mod">
          <ac:chgData name="Pierre Cavaroc" userId="150eff99-6aed-48f0-b13c-cabd0a4b3ac2" providerId="ADAL" clId="{E623609C-0EF4-4ECB-A655-127E285B354B}" dt="2021-03-21T23:02:37.896" v="6045" actId="27803"/>
          <ac:spMkLst>
            <pc:docMk/>
            <pc:sldMk cId="2136510916" sldId="2134803580"/>
            <ac:spMk id="104" creationId="{1A69DD10-C88B-41C8-97D6-28B455CFC881}"/>
          </ac:spMkLst>
        </pc:spChg>
        <pc:spChg chg="mod">
          <ac:chgData name="Pierre Cavaroc" userId="150eff99-6aed-48f0-b13c-cabd0a4b3ac2" providerId="ADAL" clId="{E623609C-0EF4-4ECB-A655-127E285B354B}" dt="2021-03-21T23:02:37.896" v="6045" actId="27803"/>
          <ac:spMkLst>
            <pc:docMk/>
            <pc:sldMk cId="2136510916" sldId="2134803580"/>
            <ac:spMk id="105" creationId="{F59BB29D-7075-4EDD-9707-A7BF9BB2AC7B}"/>
          </ac:spMkLst>
        </pc:spChg>
        <pc:spChg chg="mod">
          <ac:chgData name="Pierre Cavaroc" userId="150eff99-6aed-48f0-b13c-cabd0a4b3ac2" providerId="ADAL" clId="{E623609C-0EF4-4ECB-A655-127E285B354B}" dt="2021-03-21T23:02:37.896" v="6045" actId="27803"/>
          <ac:spMkLst>
            <pc:docMk/>
            <pc:sldMk cId="2136510916" sldId="2134803580"/>
            <ac:spMk id="106" creationId="{7469D089-FFF4-445F-A1F4-869D4CA884E1}"/>
          </ac:spMkLst>
        </pc:spChg>
        <pc:spChg chg="mod">
          <ac:chgData name="Pierre Cavaroc" userId="150eff99-6aed-48f0-b13c-cabd0a4b3ac2" providerId="ADAL" clId="{E623609C-0EF4-4ECB-A655-127E285B354B}" dt="2021-03-21T23:02:37.896" v="6045" actId="27803"/>
          <ac:spMkLst>
            <pc:docMk/>
            <pc:sldMk cId="2136510916" sldId="2134803580"/>
            <ac:spMk id="107" creationId="{317E22B7-4CD2-42D2-906C-BB8F2A6C8464}"/>
          </ac:spMkLst>
        </pc:spChg>
        <pc:spChg chg="mod">
          <ac:chgData name="Pierre Cavaroc" userId="150eff99-6aed-48f0-b13c-cabd0a4b3ac2" providerId="ADAL" clId="{E623609C-0EF4-4ECB-A655-127E285B354B}" dt="2021-03-21T23:02:37.896" v="6045" actId="27803"/>
          <ac:spMkLst>
            <pc:docMk/>
            <pc:sldMk cId="2136510916" sldId="2134803580"/>
            <ac:spMk id="108" creationId="{9CA62130-1DCA-40D1-8EED-31CFB8A83298}"/>
          </ac:spMkLst>
        </pc:spChg>
        <pc:spChg chg="mod">
          <ac:chgData name="Pierre Cavaroc" userId="150eff99-6aed-48f0-b13c-cabd0a4b3ac2" providerId="ADAL" clId="{E623609C-0EF4-4ECB-A655-127E285B354B}" dt="2021-03-21T23:02:37.896" v="6045" actId="27803"/>
          <ac:spMkLst>
            <pc:docMk/>
            <pc:sldMk cId="2136510916" sldId="2134803580"/>
            <ac:spMk id="109" creationId="{AFDB5BCD-C0E0-409A-AAA2-9FE0B1803F61}"/>
          </ac:spMkLst>
        </pc:spChg>
        <pc:spChg chg="mod">
          <ac:chgData name="Pierre Cavaroc" userId="150eff99-6aed-48f0-b13c-cabd0a4b3ac2" providerId="ADAL" clId="{E623609C-0EF4-4ECB-A655-127E285B354B}" dt="2021-03-21T23:02:37.896" v="6045" actId="27803"/>
          <ac:spMkLst>
            <pc:docMk/>
            <pc:sldMk cId="2136510916" sldId="2134803580"/>
            <ac:spMk id="110" creationId="{B6689E16-793C-49FB-BEF6-435A0F028561}"/>
          </ac:spMkLst>
        </pc:spChg>
        <pc:spChg chg="mod">
          <ac:chgData name="Pierre Cavaroc" userId="150eff99-6aed-48f0-b13c-cabd0a4b3ac2" providerId="ADAL" clId="{E623609C-0EF4-4ECB-A655-127E285B354B}" dt="2021-03-21T23:02:37.896" v="6045" actId="27803"/>
          <ac:spMkLst>
            <pc:docMk/>
            <pc:sldMk cId="2136510916" sldId="2134803580"/>
            <ac:spMk id="111" creationId="{4A9A85C0-F3CA-4EC4-A3E1-F653B9EA9C15}"/>
          </ac:spMkLst>
        </pc:spChg>
        <pc:spChg chg="mod">
          <ac:chgData name="Pierre Cavaroc" userId="150eff99-6aed-48f0-b13c-cabd0a4b3ac2" providerId="ADAL" clId="{E623609C-0EF4-4ECB-A655-127E285B354B}" dt="2021-03-21T23:02:37.896" v="6045" actId="27803"/>
          <ac:spMkLst>
            <pc:docMk/>
            <pc:sldMk cId="2136510916" sldId="2134803580"/>
            <ac:spMk id="112" creationId="{1D9681E4-36D9-4498-ADAB-1C1460348997}"/>
          </ac:spMkLst>
        </pc:spChg>
        <pc:spChg chg="mod">
          <ac:chgData name="Pierre Cavaroc" userId="150eff99-6aed-48f0-b13c-cabd0a4b3ac2" providerId="ADAL" clId="{E623609C-0EF4-4ECB-A655-127E285B354B}" dt="2021-03-21T23:02:37.896" v="6045" actId="27803"/>
          <ac:spMkLst>
            <pc:docMk/>
            <pc:sldMk cId="2136510916" sldId="2134803580"/>
            <ac:spMk id="113" creationId="{829AD127-B61C-450D-891E-A343DA6FCBC2}"/>
          </ac:spMkLst>
        </pc:spChg>
        <pc:spChg chg="mod">
          <ac:chgData name="Pierre Cavaroc" userId="150eff99-6aed-48f0-b13c-cabd0a4b3ac2" providerId="ADAL" clId="{E623609C-0EF4-4ECB-A655-127E285B354B}" dt="2021-03-21T23:02:37.896" v="6045" actId="27803"/>
          <ac:spMkLst>
            <pc:docMk/>
            <pc:sldMk cId="2136510916" sldId="2134803580"/>
            <ac:spMk id="114" creationId="{8C4FC451-C1A4-47CE-8FC6-45BD143F5543}"/>
          </ac:spMkLst>
        </pc:spChg>
        <pc:spChg chg="mod">
          <ac:chgData name="Pierre Cavaroc" userId="150eff99-6aed-48f0-b13c-cabd0a4b3ac2" providerId="ADAL" clId="{E623609C-0EF4-4ECB-A655-127E285B354B}" dt="2021-03-21T23:02:37.896" v="6045" actId="27803"/>
          <ac:spMkLst>
            <pc:docMk/>
            <pc:sldMk cId="2136510916" sldId="2134803580"/>
            <ac:spMk id="115" creationId="{FC76ADD1-BDD1-439A-8107-96958FBE9425}"/>
          </ac:spMkLst>
        </pc:spChg>
        <pc:spChg chg="mod">
          <ac:chgData name="Pierre Cavaroc" userId="150eff99-6aed-48f0-b13c-cabd0a4b3ac2" providerId="ADAL" clId="{E623609C-0EF4-4ECB-A655-127E285B354B}" dt="2021-03-21T23:02:37.896" v="6045" actId="27803"/>
          <ac:spMkLst>
            <pc:docMk/>
            <pc:sldMk cId="2136510916" sldId="2134803580"/>
            <ac:spMk id="116" creationId="{AFBF7E1A-EA9B-446D-9E27-2CA26D19339D}"/>
          </ac:spMkLst>
        </pc:spChg>
        <pc:spChg chg="mod">
          <ac:chgData name="Pierre Cavaroc" userId="150eff99-6aed-48f0-b13c-cabd0a4b3ac2" providerId="ADAL" clId="{E623609C-0EF4-4ECB-A655-127E285B354B}" dt="2021-03-21T23:02:37.896" v="6045" actId="27803"/>
          <ac:spMkLst>
            <pc:docMk/>
            <pc:sldMk cId="2136510916" sldId="2134803580"/>
            <ac:spMk id="117" creationId="{1A1765DD-E684-4900-9258-521F49ED70F4}"/>
          </ac:spMkLst>
        </pc:spChg>
        <pc:spChg chg="mod">
          <ac:chgData name="Pierre Cavaroc" userId="150eff99-6aed-48f0-b13c-cabd0a4b3ac2" providerId="ADAL" clId="{E623609C-0EF4-4ECB-A655-127E285B354B}" dt="2021-03-21T23:02:37.896" v="6045" actId="27803"/>
          <ac:spMkLst>
            <pc:docMk/>
            <pc:sldMk cId="2136510916" sldId="2134803580"/>
            <ac:spMk id="118" creationId="{B7BE48F4-6656-4645-A300-9FC0410A8B85}"/>
          </ac:spMkLst>
        </pc:spChg>
        <pc:spChg chg="mod">
          <ac:chgData name="Pierre Cavaroc" userId="150eff99-6aed-48f0-b13c-cabd0a4b3ac2" providerId="ADAL" clId="{E623609C-0EF4-4ECB-A655-127E285B354B}" dt="2021-03-21T23:02:37.896" v="6045" actId="27803"/>
          <ac:spMkLst>
            <pc:docMk/>
            <pc:sldMk cId="2136510916" sldId="2134803580"/>
            <ac:spMk id="119" creationId="{9E247C97-3DE3-4726-AD67-5469FB42B2FA}"/>
          </ac:spMkLst>
        </pc:spChg>
        <pc:spChg chg="mod">
          <ac:chgData name="Pierre Cavaroc" userId="150eff99-6aed-48f0-b13c-cabd0a4b3ac2" providerId="ADAL" clId="{E623609C-0EF4-4ECB-A655-127E285B354B}" dt="2021-03-21T23:02:37.896" v="6045" actId="27803"/>
          <ac:spMkLst>
            <pc:docMk/>
            <pc:sldMk cId="2136510916" sldId="2134803580"/>
            <ac:spMk id="120" creationId="{4BB97F91-E537-4C3C-AD95-85E7325060EA}"/>
          </ac:spMkLst>
        </pc:spChg>
        <pc:spChg chg="mod">
          <ac:chgData name="Pierre Cavaroc" userId="150eff99-6aed-48f0-b13c-cabd0a4b3ac2" providerId="ADAL" clId="{E623609C-0EF4-4ECB-A655-127E285B354B}" dt="2021-03-21T23:02:37.896" v="6045" actId="27803"/>
          <ac:spMkLst>
            <pc:docMk/>
            <pc:sldMk cId="2136510916" sldId="2134803580"/>
            <ac:spMk id="121" creationId="{5EBCBEAB-63F4-496D-AC32-EA0F61182EED}"/>
          </ac:spMkLst>
        </pc:spChg>
        <pc:spChg chg="mod">
          <ac:chgData name="Pierre Cavaroc" userId="150eff99-6aed-48f0-b13c-cabd0a4b3ac2" providerId="ADAL" clId="{E623609C-0EF4-4ECB-A655-127E285B354B}" dt="2021-03-21T23:02:37.896" v="6045" actId="27803"/>
          <ac:spMkLst>
            <pc:docMk/>
            <pc:sldMk cId="2136510916" sldId="2134803580"/>
            <ac:spMk id="122" creationId="{C9090912-8B9B-4063-A715-44C780202738}"/>
          </ac:spMkLst>
        </pc:spChg>
        <pc:spChg chg="mod">
          <ac:chgData name="Pierre Cavaroc" userId="150eff99-6aed-48f0-b13c-cabd0a4b3ac2" providerId="ADAL" clId="{E623609C-0EF4-4ECB-A655-127E285B354B}" dt="2021-03-21T23:02:37.896" v="6045" actId="27803"/>
          <ac:spMkLst>
            <pc:docMk/>
            <pc:sldMk cId="2136510916" sldId="2134803580"/>
            <ac:spMk id="123" creationId="{17D0DB14-282E-42B6-ABB0-64F04304C82B}"/>
          </ac:spMkLst>
        </pc:spChg>
        <pc:spChg chg="mod">
          <ac:chgData name="Pierre Cavaroc" userId="150eff99-6aed-48f0-b13c-cabd0a4b3ac2" providerId="ADAL" clId="{E623609C-0EF4-4ECB-A655-127E285B354B}" dt="2021-03-21T23:02:37.896" v="6045" actId="27803"/>
          <ac:spMkLst>
            <pc:docMk/>
            <pc:sldMk cId="2136510916" sldId="2134803580"/>
            <ac:spMk id="124" creationId="{E123B218-289B-4BB3-868B-B6EFBB18FAA9}"/>
          </ac:spMkLst>
        </pc:spChg>
        <pc:spChg chg="mod">
          <ac:chgData name="Pierre Cavaroc" userId="150eff99-6aed-48f0-b13c-cabd0a4b3ac2" providerId="ADAL" clId="{E623609C-0EF4-4ECB-A655-127E285B354B}" dt="2021-03-21T23:02:37.896" v="6045" actId="27803"/>
          <ac:spMkLst>
            <pc:docMk/>
            <pc:sldMk cId="2136510916" sldId="2134803580"/>
            <ac:spMk id="125" creationId="{E21EE6D5-3C00-46EB-ABD7-EDFB1BFC738F}"/>
          </ac:spMkLst>
        </pc:spChg>
        <pc:spChg chg="mod">
          <ac:chgData name="Pierre Cavaroc" userId="150eff99-6aed-48f0-b13c-cabd0a4b3ac2" providerId="ADAL" clId="{E623609C-0EF4-4ECB-A655-127E285B354B}" dt="2021-03-21T23:02:37.896" v="6045" actId="27803"/>
          <ac:spMkLst>
            <pc:docMk/>
            <pc:sldMk cId="2136510916" sldId="2134803580"/>
            <ac:spMk id="126" creationId="{4C372757-9635-4090-A1A3-DB1DD33066D9}"/>
          </ac:spMkLst>
        </pc:spChg>
        <pc:spChg chg="mod">
          <ac:chgData name="Pierre Cavaroc" userId="150eff99-6aed-48f0-b13c-cabd0a4b3ac2" providerId="ADAL" clId="{E623609C-0EF4-4ECB-A655-127E285B354B}" dt="2021-03-21T23:02:37.896" v="6045" actId="27803"/>
          <ac:spMkLst>
            <pc:docMk/>
            <pc:sldMk cId="2136510916" sldId="2134803580"/>
            <ac:spMk id="127" creationId="{34F51A7E-99B4-449B-B783-0AA8BC15E039}"/>
          </ac:spMkLst>
        </pc:spChg>
        <pc:spChg chg="mod">
          <ac:chgData name="Pierre Cavaroc" userId="150eff99-6aed-48f0-b13c-cabd0a4b3ac2" providerId="ADAL" clId="{E623609C-0EF4-4ECB-A655-127E285B354B}" dt="2021-03-21T23:02:37.896" v="6045" actId="27803"/>
          <ac:spMkLst>
            <pc:docMk/>
            <pc:sldMk cId="2136510916" sldId="2134803580"/>
            <ac:spMk id="128" creationId="{06A59D8F-AA4A-4517-B148-914D5A44F7E0}"/>
          </ac:spMkLst>
        </pc:spChg>
        <pc:spChg chg="mod">
          <ac:chgData name="Pierre Cavaroc" userId="150eff99-6aed-48f0-b13c-cabd0a4b3ac2" providerId="ADAL" clId="{E623609C-0EF4-4ECB-A655-127E285B354B}" dt="2021-03-21T23:02:37.896" v="6045" actId="27803"/>
          <ac:spMkLst>
            <pc:docMk/>
            <pc:sldMk cId="2136510916" sldId="2134803580"/>
            <ac:spMk id="129" creationId="{5846F281-66C2-4EA9-B72E-F3D3DD1538DD}"/>
          </ac:spMkLst>
        </pc:spChg>
        <pc:spChg chg="mod">
          <ac:chgData name="Pierre Cavaroc" userId="150eff99-6aed-48f0-b13c-cabd0a4b3ac2" providerId="ADAL" clId="{E623609C-0EF4-4ECB-A655-127E285B354B}" dt="2021-03-21T23:02:37.896" v="6045" actId="27803"/>
          <ac:spMkLst>
            <pc:docMk/>
            <pc:sldMk cId="2136510916" sldId="2134803580"/>
            <ac:spMk id="130" creationId="{10B34F97-C6AD-4EAF-AEEE-CCF5867B7BA2}"/>
          </ac:spMkLst>
        </pc:spChg>
        <pc:spChg chg="mod">
          <ac:chgData name="Pierre Cavaroc" userId="150eff99-6aed-48f0-b13c-cabd0a4b3ac2" providerId="ADAL" clId="{E623609C-0EF4-4ECB-A655-127E285B354B}" dt="2021-03-21T23:02:37.896" v="6045" actId="27803"/>
          <ac:spMkLst>
            <pc:docMk/>
            <pc:sldMk cId="2136510916" sldId="2134803580"/>
            <ac:spMk id="131" creationId="{7BA0E379-B0FD-4D52-9E6F-086F652FAD9C}"/>
          </ac:spMkLst>
        </pc:spChg>
        <pc:spChg chg="mod">
          <ac:chgData name="Pierre Cavaroc" userId="150eff99-6aed-48f0-b13c-cabd0a4b3ac2" providerId="ADAL" clId="{E623609C-0EF4-4ECB-A655-127E285B354B}" dt="2021-03-21T23:02:37.896" v="6045" actId="27803"/>
          <ac:spMkLst>
            <pc:docMk/>
            <pc:sldMk cId="2136510916" sldId="2134803580"/>
            <ac:spMk id="132" creationId="{F631FA52-BF47-454B-9E3B-5C7E7955B8A8}"/>
          </ac:spMkLst>
        </pc:spChg>
        <pc:spChg chg="mod">
          <ac:chgData name="Pierre Cavaroc" userId="150eff99-6aed-48f0-b13c-cabd0a4b3ac2" providerId="ADAL" clId="{E623609C-0EF4-4ECB-A655-127E285B354B}" dt="2021-03-21T23:02:37.896" v="6045" actId="27803"/>
          <ac:spMkLst>
            <pc:docMk/>
            <pc:sldMk cId="2136510916" sldId="2134803580"/>
            <ac:spMk id="133" creationId="{11A946B7-429D-4726-A691-51E483547D41}"/>
          </ac:spMkLst>
        </pc:spChg>
        <pc:spChg chg="mod">
          <ac:chgData name="Pierre Cavaroc" userId="150eff99-6aed-48f0-b13c-cabd0a4b3ac2" providerId="ADAL" clId="{E623609C-0EF4-4ECB-A655-127E285B354B}" dt="2021-03-21T23:02:37.896" v="6045" actId="27803"/>
          <ac:spMkLst>
            <pc:docMk/>
            <pc:sldMk cId="2136510916" sldId="2134803580"/>
            <ac:spMk id="134" creationId="{D062762B-D982-4A8C-B09F-7C1ABE1D6DA7}"/>
          </ac:spMkLst>
        </pc:spChg>
        <pc:spChg chg="mod">
          <ac:chgData name="Pierre Cavaroc" userId="150eff99-6aed-48f0-b13c-cabd0a4b3ac2" providerId="ADAL" clId="{E623609C-0EF4-4ECB-A655-127E285B354B}" dt="2021-03-21T23:02:37.896" v="6045" actId="27803"/>
          <ac:spMkLst>
            <pc:docMk/>
            <pc:sldMk cId="2136510916" sldId="2134803580"/>
            <ac:spMk id="135" creationId="{10E4423F-AC38-4F16-A9CD-52245C2DE5B2}"/>
          </ac:spMkLst>
        </pc:spChg>
        <pc:spChg chg="mod">
          <ac:chgData name="Pierre Cavaroc" userId="150eff99-6aed-48f0-b13c-cabd0a4b3ac2" providerId="ADAL" clId="{E623609C-0EF4-4ECB-A655-127E285B354B}" dt="2021-03-21T23:02:37.896" v="6045" actId="27803"/>
          <ac:spMkLst>
            <pc:docMk/>
            <pc:sldMk cId="2136510916" sldId="2134803580"/>
            <ac:spMk id="136" creationId="{07BDBC78-FA17-496F-ABCA-3B4E9A487D1B}"/>
          </ac:spMkLst>
        </pc:spChg>
        <pc:spChg chg="mod">
          <ac:chgData name="Pierre Cavaroc" userId="150eff99-6aed-48f0-b13c-cabd0a4b3ac2" providerId="ADAL" clId="{E623609C-0EF4-4ECB-A655-127E285B354B}" dt="2021-03-21T23:02:37.896" v="6045" actId="27803"/>
          <ac:spMkLst>
            <pc:docMk/>
            <pc:sldMk cId="2136510916" sldId="2134803580"/>
            <ac:spMk id="137" creationId="{28E6372D-E7BB-4581-9C41-F107C2EEA5C9}"/>
          </ac:spMkLst>
        </pc:spChg>
        <pc:spChg chg="mod">
          <ac:chgData name="Pierre Cavaroc" userId="150eff99-6aed-48f0-b13c-cabd0a4b3ac2" providerId="ADAL" clId="{E623609C-0EF4-4ECB-A655-127E285B354B}" dt="2021-03-21T23:02:37.896" v="6045" actId="27803"/>
          <ac:spMkLst>
            <pc:docMk/>
            <pc:sldMk cId="2136510916" sldId="2134803580"/>
            <ac:spMk id="138" creationId="{06357F1E-E2E3-4CF5-9FE6-12512D9FEC75}"/>
          </ac:spMkLst>
        </pc:spChg>
        <pc:spChg chg="mod">
          <ac:chgData name="Pierre Cavaroc" userId="150eff99-6aed-48f0-b13c-cabd0a4b3ac2" providerId="ADAL" clId="{E623609C-0EF4-4ECB-A655-127E285B354B}" dt="2021-03-21T23:02:37.896" v="6045" actId="27803"/>
          <ac:spMkLst>
            <pc:docMk/>
            <pc:sldMk cId="2136510916" sldId="2134803580"/>
            <ac:spMk id="139" creationId="{C7146C8A-6776-41CA-8C9C-8C76F87DCDA4}"/>
          </ac:spMkLst>
        </pc:spChg>
        <pc:spChg chg="mod">
          <ac:chgData name="Pierre Cavaroc" userId="150eff99-6aed-48f0-b13c-cabd0a4b3ac2" providerId="ADAL" clId="{E623609C-0EF4-4ECB-A655-127E285B354B}" dt="2021-03-21T23:02:37.896" v="6045" actId="27803"/>
          <ac:spMkLst>
            <pc:docMk/>
            <pc:sldMk cId="2136510916" sldId="2134803580"/>
            <ac:spMk id="140" creationId="{5A49C233-F63E-4962-86CC-9F033BA0EF6E}"/>
          </ac:spMkLst>
        </pc:spChg>
        <pc:spChg chg="mod">
          <ac:chgData name="Pierre Cavaroc" userId="150eff99-6aed-48f0-b13c-cabd0a4b3ac2" providerId="ADAL" clId="{E623609C-0EF4-4ECB-A655-127E285B354B}" dt="2021-03-21T23:02:37.896" v="6045" actId="27803"/>
          <ac:spMkLst>
            <pc:docMk/>
            <pc:sldMk cId="2136510916" sldId="2134803580"/>
            <ac:spMk id="141" creationId="{AD1867D1-EAB5-49D4-9B9A-042FA2069377}"/>
          </ac:spMkLst>
        </pc:spChg>
        <pc:spChg chg="mod">
          <ac:chgData name="Pierre Cavaroc" userId="150eff99-6aed-48f0-b13c-cabd0a4b3ac2" providerId="ADAL" clId="{E623609C-0EF4-4ECB-A655-127E285B354B}" dt="2021-03-21T23:02:37.896" v="6045" actId="27803"/>
          <ac:spMkLst>
            <pc:docMk/>
            <pc:sldMk cId="2136510916" sldId="2134803580"/>
            <ac:spMk id="142" creationId="{5A3CC981-612E-42D6-94DF-610C4CED3795}"/>
          </ac:spMkLst>
        </pc:spChg>
        <pc:spChg chg="mod">
          <ac:chgData name="Pierre Cavaroc" userId="150eff99-6aed-48f0-b13c-cabd0a4b3ac2" providerId="ADAL" clId="{E623609C-0EF4-4ECB-A655-127E285B354B}" dt="2021-03-21T23:02:37.896" v="6045" actId="27803"/>
          <ac:spMkLst>
            <pc:docMk/>
            <pc:sldMk cId="2136510916" sldId="2134803580"/>
            <ac:spMk id="143" creationId="{3C70B07D-7D35-4859-937B-2F2E5411BC15}"/>
          </ac:spMkLst>
        </pc:spChg>
        <pc:spChg chg="mod">
          <ac:chgData name="Pierre Cavaroc" userId="150eff99-6aed-48f0-b13c-cabd0a4b3ac2" providerId="ADAL" clId="{E623609C-0EF4-4ECB-A655-127E285B354B}" dt="2021-03-21T23:02:37.896" v="6045" actId="27803"/>
          <ac:spMkLst>
            <pc:docMk/>
            <pc:sldMk cId="2136510916" sldId="2134803580"/>
            <ac:spMk id="144" creationId="{0AD22014-A49B-443A-9087-5F824BB39C83}"/>
          </ac:spMkLst>
        </pc:spChg>
        <pc:spChg chg="mod">
          <ac:chgData name="Pierre Cavaroc" userId="150eff99-6aed-48f0-b13c-cabd0a4b3ac2" providerId="ADAL" clId="{E623609C-0EF4-4ECB-A655-127E285B354B}" dt="2021-03-21T23:02:37.896" v="6045" actId="27803"/>
          <ac:spMkLst>
            <pc:docMk/>
            <pc:sldMk cId="2136510916" sldId="2134803580"/>
            <ac:spMk id="145" creationId="{62742728-00FB-4F9A-A2DF-16F86DECC216}"/>
          </ac:spMkLst>
        </pc:spChg>
        <pc:spChg chg="mod">
          <ac:chgData name="Pierre Cavaroc" userId="150eff99-6aed-48f0-b13c-cabd0a4b3ac2" providerId="ADAL" clId="{E623609C-0EF4-4ECB-A655-127E285B354B}" dt="2021-03-21T23:02:37.896" v="6045" actId="27803"/>
          <ac:spMkLst>
            <pc:docMk/>
            <pc:sldMk cId="2136510916" sldId="2134803580"/>
            <ac:spMk id="146" creationId="{94F8AB08-758F-4DC9-9A7C-4E2C2AC38376}"/>
          </ac:spMkLst>
        </pc:spChg>
        <pc:spChg chg="mod">
          <ac:chgData name="Pierre Cavaroc" userId="150eff99-6aed-48f0-b13c-cabd0a4b3ac2" providerId="ADAL" clId="{E623609C-0EF4-4ECB-A655-127E285B354B}" dt="2021-03-21T23:02:37.896" v="6045" actId="27803"/>
          <ac:spMkLst>
            <pc:docMk/>
            <pc:sldMk cId="2136510916" sldId="2134803580"/>
            <ac:spMk id="147" creationId="{C386B22B-CBF7-44ED-880B-E9CF322F8414}"/>
          </ac:spMkLst>
        </pc:spChg>
        <pc:spChg chg="mod">
          <ac:chgData name="Pierre Cavaroc" userId="150eff99-6aed-48f0-b13c-cabd0a4b3ac2" providerId="ADAL" clId="{E623609C-0EF4-4ECB-A655-127E285B354B}" dt="2021-03-21T23:02:37.896" v="6045" actId="27803"/>
          <ac:spMkLst>
            <pc:docMk/>
            <pc:sldMk cId="2136510916" sldId="2134803580"/>
            <ac:spMk id="148" creationId="{FF6951D6-18B8-43A2-9674-4167B3547C0A}"/>
          </ac:spMkLst>
        </pc:spChg>
        <pc:spChg chg="mod">
          <ac:chgData name="Pierre Cavaroc" userId="150eff99-6aed-48f0-b13c-cabd0a4b3ac2" providerId="ADAL" clId="{E623609C-0EF4-4ECB-A655-127E285B354B}" dt="2021-03-21T23:02:37.896" v="6045" actId="27803"/>
          <ac:spMkLst>
            <pc:docMk/>
            <pc:sldMk cId="2136510916" sldId="2134803580"/>
            <ac:spMk id="149" creationId="{BDFA4287-1332-4590-AFD8-A69EDB0C64E2}"/>
          </ac:spMkLst>
        </pc:spChg>
        <pc:spChg chg="mod">
          <ac:chgData name="Pierre Cavaroc" userId="150eff99-6aed-48f0-b13c-cabd0a4b3ac2" providerId="ADAL" clId="{E623609C-0EF4-4ECB-A655-127E285B354B}" dt="2021-03-21T23:02:37.896" v="6045" actId="27803"/>
          <ac:spMkLst>
            <pc:docMk/>
            <pc:sldMk cId="2136510916" sldId="2134803580"/>
            <ac:spMk id="150" creationId="{A4572ABA-F2D3-4610-8C43-086C4046A9AF}"/>
          </ac:spMkLst>
        </pc:spChg>
        <pc:spChg chg="mod">
          <ac:chgData name="Pierre Cavaroc" userId="150eff99-6aed-48f0-b13c-cabd0a4b3ac2" providerId="ADAL" clId="{E623609C-0EF4-4ECB-A655-127E285B354B}" dt="2021-03-21T23:02:37.896" v="6045" actId="27803"/>
          <ac:spMkLst>
            <pc:docMk/>
            <pc:sldMk cId="2136510916" sldId="2134803580"/>
            <ac:spMk id="151" creationId="{141BBF05-C659-4779-91DD-C683EE6B432C}"/>
          </ac:spMkLst>
        </pc:spChg>
        <pc:spChg chg="mod">
          <ac:chgData name="Pierre Cavaroc" userId="150eff99-6aed-48f0-b13c-cabd0a4b3ac2" providerId="ADAL" clId="{E623609C-0EF4-4ECB-A655-127E285B354B}" dt="2021-03-21T23:02:37.896" v="6045" actId="27803"/>
          <ac:spMkLst>
            <pc:docMk/>
            <pc:sldMk cId="2136510916" sldId="2134803580"/>
            <ac:spMk id="152" creationId="{7B88D47C-CC25-4B76-BFB3-7FF16BC060CD}"/>
          </ac:spMkLst>
        </pc:spChg>
        <pc:spChg chg="mod">
          <ac:chgData name="Pierre Cavaroc" userId="150eff99-6aed-48f0-b13c-cabd0a4b3ac2" providerId="ADAL" clId="{E623609C-0EF4-4ECB-A655-127E285B354B}" dt="2021-03-21T23:02:37.896" v="6045" actId="27803"/>
          <ac:spMkLst>
            <pc:docMk/>
            <pc:sldMk cId="2136510916" sldId="2134803580"/>
            <ac:spMk id="153" creationId="{B1172647-2249-40F7-85BF-92154D652150}"/>
          </ac:spMkLst>
        </pc:spChg>
        <pc:spChg chg="mod">
          <ac:chgData name="Pierre Cavaroc" userId="150eff99-6aed-48f0-b13c-cabd0a4b3ac2" providerId="ADAL" clId="{E623609C-0EF4-4ECB-A655-127E285B354B}" dt="2021-03-21T23:02:37.896" v="6045" actId="27803"/>
          <ac:spMkLst>
            <pc:docMk/>
            <pc:sldMk cId="2136510916" sldId="2134803580"/>
            <ac:spMk id="154" creationId="{DAE3CCD7-E4C3-46B4-A00C-72945052A788}"/>
          </ac:spMkLst>
        </pc:spChg>
        <pc:spChg chg="mod">
          <ac:chgData name="Pierre Cavaroc" userId="150eff99-6aed-48f0-b13c-cabd0a4b3ac2" providerId="ADAL" clId="{E623609C-0EF4-4ECB-A655-127E285B354B}" dt="2021-03-21T23:02:37.896" v="6045" actId="27803"/>
          <ac:spMkLst>
            <pc:docMk/>
            <pc:sldMk cId="2136510916" sldId="2134803580"/>
            <ac:spMk id="155" creationId="{5B68D9BE-4C36-4BF3-ADF9-68E877DAC083}"/>
          </ac:spMkLst>
        </pc:spChg>
        <pc:spChg chg="mod">
          <ac:chgData name="Pierre Cavaroc" userId="150eff99-6aed-48f0-b13c-cabd0a4b3ac2" providerId="ADAL" clId="{E623609C-0EF4-4ECB-A655-127E285B354B}" dt="2021-03-21T23:02:37.896" v="6045" actId="27803"/>
          <ac:spMkLst>
            <pc:docMk/>
            <pc:sldMk cId="2136510916" sldId="2134803580"/>
            <ac:spMk id="156" creationId="{E3585966-F416-4D18-B5AE-914930102E27}"/>
          </ac:spMkLst>
        </pc:spChg>
        <pc:spChg chg="mod">
          <ac:chgData name="Pierre Cavaroc" userId="150eff99-6aed-48f0-b13c-cabd0a4b3ac2" providerId="ADAL" clId="{E623609C-0EF4-4ECB-A655-127E285B354B}" dt="2021-03-21T23:02:37.896" v="6045" actId="27803"/>
          <ac:spMkLst>
            <pc:docMk/>
            <pc:sldMk cId="2136510916" sldId="2134803580"/>
            <ac:spMk id="157" creationId="{11EC5B56-FE64-4AE6-9257-5B80C94A157A}"/>
          </ac:spMkLst>
        </pc:spChg>
        <pc:spChg chg="mod">
          <ac:chgData name="Pierre Cavaroc" userId="150eff99-6aed-48f0-b13c-cabd0a4b3ac2" providerId="ADAL" clId="{E623609C-0EF4-4ECB-A655-127E285B354B}" dt="2021-03-21T23:02:37.896" v="6045" actId="27803"/>
          <ac:spMkLst>
            <pc:docMk/>
            <pc:sldMk cId="2136510916" sldId="2134803580"/>
            <ac:spMk id="158" creationId="{8BAF6376-358D-49CF-962A-62207EA6BF66}"/>
          </ac:spMkLst>
        </pc:spChg>
        <pc:spChg chg="mod">
          <ac:chgData name="Pierre Cavaroc" userId="150eff99-6aed-48f0-b13c-cabd0a4b3ac2" providerId="ADAL" clId="{E623609C-0EF4-4ECB-A655-127E285B354B}" dt="2021-03-21T23:02:37.896" v="6045" actId="27803"/>
          <ac:spMkLst>
            <pc:docMk/>
            <pc:sldMk cId="2136510916" sldId="2134803580"/>
            <ac:spMk id="159" creationId="{CA3E8DFE-B669-4A10-AD19-689C69901CD1}"/>
          </ac:spMkLst>
        </pc:spChg>
        <pc:spChg chg="mod">
          <ac:chgData name="Pierre Cavaroc" userId="150eff99-6aed-48f0-b13c-cabd0a4b3ac2" providerId="ADAL" clId="{E623609C-0EF4-4ECB-A655-127E285B354B}" dt="2021-03-21T23:02:37.896" v="6045" actId="27803"/>
          <ac:spMkLst>
            <pc:docMk/>
            <pc:sldMk cId="2136510916" sldId="2134803580"/>
            <ac:spMk id="160" creationId="{E673F7D1-95B5-4723-AAF1-6B1196ABCB4D}"/>
          </ac:spMkLst>
        </pc:spChg>
        <pc:spChg chg="mod">
          <ac:chgData name="Pierre Cavaroc" userId="150eff99-6aed-48f0-b13c-cabd0a4b3ac2" providerId="ADAL" clId="{E623609C-0EF4-4ECB-A655-127E285B354B}" dt="2021-03-21T23:02:37.896" v="6045" actId="27803"/>
          <ac:spMkLst>
            <pc:docMk/>
            <pc:sldMk cId="2136510916" sldId="2134803580"/>
            <ac:spMk id="161" creationId="{027CFE48-F5E8-4A08-BE0C-5381F39EF9EA}"/>
          </ac:spMkLst>
        </pc:spChg>
        <pc:spChg chg="mod">
          <ac:chgData name="Pierre Cavaroc" userId="150eff99-6aed-48f0-b13c-cabd0a4b3ac2" providerId="ADAL" clId="{E623609C-0EF4-4ECB-A655-127E285B354B}" dt="2021-03-21T23:02:37.896" v="6045" actId="27803"/>
          <ac:spMkLst>
            <pc:docMk/>
            <pc:sldMk cId="2136510916" sldId="2134803580"/>
            <ac:spMk id="162" creationId="{1CDE8E45-A65F-41BC-B65D-339565B3AD30}"/>
          </ac:spMkLst>
        </pc:spChg>
        <pc:spChg chg="mod">
          <ac:chgData name="Pierre Cavaroc" userId="150eff99-6aed-48f0-b13c-cabd0a4b3ac2" providerId="ADAL" clId="{E623609C-0EF4-4ECB-A655-127E285B354B}" dt="2021-03-21T23:02:37.896" v="6045" actId="27803"/>
          <ac:spMkLst>
            <pc:docMk/>
            <pc:sldMk cId="2136510916" sldId="2134803580"/>
            <ac:spMk id="163" creationId="{258D3D8F-FAE4-45A7-96BB-E0B1FB5FB076}"/>
          </ac:spMkLst>
        </pc:spChg>
        <pc:spChg chg="mod">
          <ac:chgData name="Pierre Cavaroc" userId="150eff99-6aed-48f0-b13c-cabd0a4b3ac2" providerId="ADAL" clId="{E623609C-0EF4-4ECB-A655-127E285B354B}" dt="2021-03-21T23:02:37.896" v="6045" actId="27803"/>
          <ac:spMkLst>
            <pc:docMk/>
            <pc:sldMk cId="2136510916" sldId="2134803580"/>
            <ac:spMk id="164" creationId="{D74D1490-B906-4F9D-8B26-6E944CD1731E}"/>
          </ac:spMkLst>
        </pc:spChg>
        <pc:spChg chg="mod">
          <ac:chgData name="Pierre Cavaroc" userId="150eff99-6aed-48f0-b13c-cabd0a4b3ac2" providerId="ADAL" clId="{E623609C-0EF4-4ECB-A655-127E285B354B}" dt="2021-03-21T23:02:37.896" v="6045" actId="27803"/>
          <ac:spMkLst>
            <pc:docMk/>
            <pc:sldMk cId="2136510916" sldId="2134803580"/>
            <ac:spMk id="165" creationId="{F2844970-449F-45E2-AA99-6DDD2325C5DC}"/>
          </ac:spMkLst>
        </pc:spChg>
        <pc:spChg chg="mod">
          <ac:chgData name="Pierre Cavaroc" userId="150eff99-6aed-48f0-b13c-cabd0a4b3ac2" providerId="ADAL" clId="{E623609C-0EF4-4ECB-A655-127E285B354B}" dt="2021-03-21T23:02:37.896" v="6045" actId="27803"/>
          <ac:spMkLst>
            <pc:docMk/>
            <pc:sldMk cId="2136510916" sldId="2134803580"/>
            <ac:spMk id="166" creationId="{BB6E7B53-2067-4623-B14C-90456CE36492}"/>
          </ac:spMkLst>
        </pc:spChg>
        <pc:spChg chg="mod">
          <ac:chgData name="Pierre Cavaroc" userId="150eff99-6aed-48f0-b13c-cabd0a4b3ac2" providerId="ADAL" clId="{E623609C-0EF4-4ECB-A655-127E285B354B}" dt="2021-03-21T23:02:37.896" v="6045" actId="27803"/>
          <ac:spMkLst>
            <pc:docMk/>
            <pc:sldMk cId="2136510916" sldId="2134803580"/>
            <ac:spMk id="167" creationId="{7852F6C0-B5C0-4C30-85D5-214BD25B1181}"/>
          </ac:spMkLst>
        </pc:spChg>
        <pc:spChg chg="mod">
          <ac:chgData name="Pierre Cavaroc" userId="150eff99-6aed-48f0-b13c-cabd0a4b3ac2" providerId="ADAL" clId="{E623609C-0EF4-4ECB-A655-127E285B354B}" dt="2021-03-21T23:02:37.896" v="6045" actId="27803"/>
          <ac:spMkLst>
            <pc:docMk/>
            <pc:sldMk cId="2136510916" sldId="2134803580"/>
            <ac:spMk id="168" creationId="{5C5D96E1-17F4-4190-B167-CCA62D59CB04}"/>
          </ac:spMkLst>
        </pc:spChg>
        <pc:spChg chg="mod">
          <ac:chgData name="Pierre Cavaroc" userId="150eff99-6aed-48f0-b13c-cabd0a4b3ac2" providerId="ADAL" clId="{E623609C-0EF4-4ECB-A655-127E285B354B}" dt="2021-03-21T23:02:37.896" v="6045" actId="27803"/>
          <ac:spMkLst>
            <pc:docMk/>
            <pc:sldMk cId="2136510916" sldId="2134803580"/>
            <ac:spMk id="169" creationId="{9653727B-D9C6-41B8-893A-D818C6AA558F}"/>
          </ac:spMkLst>
        </pc:spChg>
        <pc:spChg chg="mod">
          <ac:chgData name="Pierre Cavaroc" userId="150eff99-6aed-48f0-b13c-cabd0a4b3ac2" providerId="ADAL" clId="{E623609C-0EF4-4ECB-A655-127E285B354B}" dt="2021-03-21T23:02:37.896" v="6045" actId="27803"/>
          <ac:spMkLst>
            <pc:docMk/>
            <pc:sldMk cId="2136510916" sldId="2134803580"/>
            <ac:spMk id="170" creationId="{4937A30B-E0EA-4A56-AF1F-BBE992946D3E}"/>
          </ac:spMkLst>
        </pc:spChg>
        <pc:spChg chg="mod">
          <ac:chgData name="Pierre Cavaroc" userId="150eff99-6aed-48f0-b13c-cabd0a4b3ac2" providerId="ADAL" clId="{E623609C-0EF4-4ECB-A655-127E285B354B}" dt="2021-03-21T23:02:37.896" v="6045" actId="27803"/>
          <ac:spMkLst>
            <pc:docMk/>
            <pc:sldMk cId="2136510916" sldId="2134803580"/>
            <ac:spMk id="171" creationId="{4638CD07-4AB5-4937-A138-3FA67422637F}"/>
          </ac:spMkLst>
        </pc:spChg>
        <pc:spChg chg="mod">
          <ac:chgData name="Pierre Cavaroc" userId="150eff99-6aed-48f0-b13c-cabd0a4b3ac2" providerId="ADAL" clId="{E623609C-0EF4-4ECB-A655-127E285B354B}" dt="2021-03-21T23:02:37.896" v="6045" actId="27803"/>
          <ac:spMkLst>
            <pc:docMk/>
            <pc:sldMk cId="2136510916" sldId="2134803580"/>
            <ac:spMk id="172" creationId="{D236ACA6-7C1D-4B49-83BE-D6E21C7D7455}"/>
          </ac:spMkLst>
        </pc:spChg>
        <pc:spChg chg="mod">
          <ac:chgData name="Pierre Cavaroc" userId="150eff99-6aed-48f0-b13c-cabd0a4b3ac2" providerId="ADAL" clId="{E623609C-0EF4-4ECB-A655-127E285B354B}" dt="2021-03-21T23:02:37.896" v="6045" actId="27803"/>
          <ac:spMkLst>
            <pc:docMk/>
            <pc:sldMk cId="2136510916" sldId="2134803580"/>
            <ac:spMk id="173" creationId="{DB3A5E04-4841-4D0F-A016-C4B3E0DC927F}"/>
          </ac:spMkLst>
        </pc:spChg>
        <pc:spChg chg="mod">
          <ac:chgData name="Pierre Cavaroc" userId="150eff99-6aed-48f0-b13c-cabd0a4b3ac2" providerId="ADAL" clId="{E623609C-0EF4-4ECB-A655-127E285B354B}" dt="2021-03-21T23:02:37.896" v="6045" actId="27803"/>
          <ac:spMkLst>
            <pc:docMk/>
            <pc:sldMk cId="2136510916" sldId="2134803580"/>
            <ac:spMk id="174" creationId="{D678AA4F-F73C-41C6-B4E7-19CB351DF824}"/>
          </ac:spMkLst>
        </pc:spChg>
        <pc:spChg chg="mod">
          <ac:chgData name="Pierre Cavaroc" userId="150eff99-6aed-48f0-b13c-cabd0a4b3ac2" providerId="ADAL" clId="{E623609C-0EF4-4ECB-A655-127E285B354B}" dt="2021-03-21T23:02:37.896" v="6045" actId="27803"/>
          <ac:spMkLst>
            <pc:docMk/>
            <pc:sldMk cId="2136510916" sldId="2134803580"/>
            <ac:spMk id="175" creationId="{16FA471F-8AE3-4AE1-950D-9C814FBB5667}"/>
          </ac:spMkLst>
        </pc:spChg>
        <pc:spChg chg="mod">
          <ac:chgData name="Pierre Cavaroc" userId="150eff99-6aed-48f0-b13c-cabd0a4b3ac2" providerId="ADAL" clId="{E623609C-0EF4-4ECB-A655-127E285B354B}" dt="2021-03-21T23:02:37.896" v="6045" actId="27803"/>
          <ac:spMkLst>
            <pc:docMk/>
            <pc:sldMk cId="2136510916" sldId="2134803580"/>
            <ac:spMk id="176" creationId="{21AF1F33-5BF5-4AE6-8345-C4377FF25923}"/>
          </ac:spMkLst>
        </pc:spChg>
        <pc:spChg chg="mod">
          <ac:chgData name="Pierre Cavaroc" userId="150eff99-6aed-48f0-b13c-cabd0a4b3ac2" providerId="ADAL" clId="{E623609C-0EF4-4ECB-A655-127E285B354B}" dt="2021-03-21T23:02:37.896" v="6045" actId="27803"/>
          <ac:spMkLst>
            <pc:docMk/>
            <pc:sldMk cId="2136510916" sldId="2134803580"/>
            <ac:spMk id="177" creationId="{476996EE-6925-491F-B5BD-8BAE41ED61A5}"/>
          </ac:spMkLst>
        </pc:spChg>
        <pc:spChg chg="mod">
          <ac:chgData name="Pierre Cavaroc" userId="150eff99-6aed-48f0-b13c-cabd0a4b3ac2" providerId="ADAL" clId="{E623609C-0EF4-4ECB-A655-127E285B354B}" dt="2021-03-21T23:02:37.896" v="6045" actId="27803"/>
          <ac:spMkLst>
            <pc:docMk/>
            <pc:sldMk cId="2136510916" sldId="2134803580"/>
            <ac:spMk id="178" creationId="{FF7CE19B-37E0-4592-865A-7CB156F3DB05}"/>
          </ac:spMkLst>
        </pc:spChg>
        <pc:spChg chg="mod">
          <ac:chgData name="Pierre Cavaroc" userId="150eff99-6aed-48f0-b13c-cabd0a4b3ac2" providerId="ADAL" clId="{E623609C-0EF4-4ECB-A655-127E285B354B}" dt="2021-03-21T23:02:37.896" v="6045" actId="27803"/>
          <ac:spMkLst>
            <pc:docMk/>
            <pc:sldMk cId="2136510916" sldId="2134803580"/>
            <ac:spMk id="179" creationId="{A700A8E5-4A82-448E-8AC9-D2EC2A9F51EB}"/>
          </ac:spMkLst>
        </pc:spChg>
        <pc:spChg chg="mod">
          <ac:chgData name="Pierre Cavaroc" userId="150eff99-6aed-48f0-b13c-cabd0a4b3ac2" providerId="ADAL" clId="{E623609C-0EF4-4ECB-A655-127E285B354B}" dt="2021-03-21T23:02:37.896" v="6045" actId="27803"/>
          <ac:spMkLst>
            <pc:docMk/>
            <pc:sldMk cId="2136510916" sldId="2134803580"/>
            <ac:spMk id="180" creationId="{2D71472F-E447-4E08-8008-A9911D380CEC}"/>
          </ac:spMkLst>
        </pc:spChg>
        <pc:spChg chg="mod">
          <ac:chgData name="Pierre Cavaroc" userId="150eff99-6aed-48f0-b13c-cabd0a4b3ac2" providerId="ADAL" clId="{E623609C-0EF4-4ECB-A655-127E285B354B}" dt="2021-03-21T23:02:37.896" v="6045" actId="27803"/>
          <ac:spMkLst>
            <pc:docMk/>
            <pc:sldMk cId="2136510916" sldId="2134803580"/>
            <ac:spMk id="181" creationId="{2386FD4E-CA3C-47F6-890E-40D6C65F425E}"/>
          </ac:spMkLst>
        </pc:spChg>
        <pc:spChg chg="mod">
          <ac:chgData name="Pierre Cavaroc" userId="150eff99-6aed-48f0-b13c-cabd0a4b3ac2" providerId="ADAL" clId="{E623609C-0EF4-4ECB-A655-127E285B354B}" dt="2021-03-21T23:02:37.896" v="6045" actId="27803"/>
          <ac:spMkLst>
            <pc:docMk/>
            <pc:sldMk cId="2136510916" sldId="2134803580"/>
            <ac:spMk id="182" creationId="{1610DD7A-6503-4629-B6A3-68E8CC179B9A}"/>
          </ac:spMkLst>
        </pc:spChg>
        <pc:spChg chg="mod">
          <ac:chgData name="Pierre Cavaroc" userId="150eff99-6aed-48f0-b13c-cabd0a4b3ac2" providerId="ADAL" clId="{E623609C-0EF4-4ECB-A655-127E285B354B}" dt="2021-03-21T23:02:37.896" v="6045" actId="27803"/>
          <ac:spMkLst>
            <pc:docMk/>
            <pc:sldMk cId="2136510916" sldId="2134803580"/>
            <ac:spMk id="183" creationId="{16D3F910-03D1-457E-AAF4-430E9EE51480}"/>
          </ac:spMkLst>
        </pc:spChg>
        <pc:spChg chg="mod">
          <ac:chgData name="Pierre Cavaroc" userId="150eff99-6aed-48f0-b13c-cabd0a4b3ac2" providerId="ADAL" clId="{E623609C-0EF4-4ECB-A655-127E285B354B}" dt="2021-03-21T23:02:37.896" v="6045" actId="27803"/>
          <ac:spMkLst>
            <pc:docMk/>
            <pc:sldMk cId="2136510916" sldId="2134803580"/>
            <ac:spMk id="184" creationId="{A9CC65B1-7730-4860-894F-7E69409ACEFA}"/>
          </ac:spMkLst>
        </pc:spChg>
        <pc:spChg chg="mod">
          <ac:chgData name="Pierre Cavaroc" userId="150eff99-6aed-48f0-b13c-cabd0a4b3ac2" providerId="ADAL" clId="{E623609C-0EF4-4ECB-A655-127E285B354B}" dt="2021-03-21T23:02:37.896" v="6045" actId="27803"/>
          <ac:spMkLst>
            <pc:docMk/>
            <pc:sldMk cId="2136510916" sldId="2134803580"/>
            <ac:spMk id="185" creationId="{B2292A90-F14F-4ED4-BF67-5D00C3EAB2A2}"/>
          </ac:spMkLst>
        </pc:spChg>
        <pc:spChg chg="mod">
          <ac:chgData name="Pierre Cavaroc" userId="150eff99-6aed-48f0-b13c-cabd0a4b3ac2" providerId="ADAL" clId="{E623609C-0EF4-4ECB-A655-127E285B354B}" dt="2021-03-21T23:02:37.896" v="6045" actId="27803"/>
          <ac:spMkLst>
            <pc:docMk/>
            <pc:sldMk cId="2136510916" sldId="2134803580"/>
            <ac:spMk id="186" creationId="{08AF03E8-F864-48F8-9F79-B2EB5835D42D}"/>
          </ac:spMkLst>
        </pc:spChg>
        <pc:spChg chg="mod">
          <ac:chgData name="Pierre Cavaroc" userId="150eff99-6aed-48f0-b13c-cabd0a4b3ac2" providerId="ADAL" clId="{E623609C-0EF4-4ECB-A655-127E285B354B}" dt="2021-03-21T23:02:37.896" v="6045" actId="27803"/>
          <ac:spMkLst>
            <pc:docMk/>
            <pc:sldMk cId="2136510916" sldId="2134803580"/>
            <ac:spMk id="187" creationId="{EF54B342-1543-4192-8FAC-8026D7104858}"/>
          </ac:spMkLst>
        </pc:spChg>
        <pc:spChg chg="mod">
          <ac:chgData name="Pierre Cavaroc" userId="150eff99-6aed-48f0-b13c-cabd0a4b3ac2" providerId="ADAL" clId="{E623609C-0EF4-4ECB-A655-127E285B354B}" dt="2021-03-21T23:02:37.896" v="6045" actId="27803"/>
          <ac:spMkLst>
            <pc:docMk/>
            <pc:sldMk cId="2136510916" sldId="2134803580"/>
            <ac:spMk id="188" creationId="{29A88CB0-5511-49F5-8CD4-F4C8DFA091C7}"/>
          </ac:spMkLst>
        </pc:spChg>
        <pc:spChg chg="mod">
          <ac:chgData name="Pierre Cavaroc" userId="150eff99-6aed-48f0-b13c-cabd0a4b3ac2" providerId="ADAL" clId="{E623609C-0EF4-4ECB-A655-127E285B354B}" dt="2021-03-21T23:02:37.896" v="6045" actId="27803"/>
          <ac:spMkLst>
            <pc:docMk/>
            <pc:sldMk cId="2136510916" sldId="2134803580"/>
            <ac:spMk id="189" creationId="{0E464A83-F043-417D-A836-5A13AC724CBE}"/>
          </ac:spMkLst>
        </pc:spChg>
        <pc:spChg chg="mod">
          <ac:chgData name="Pierre Cavaroc" userId="150eff99-6aed-48f0-b13c-cabd0a4b3ac2" providerId="ADAL" clId="{E623609C-0EF4-4ECB-A655-127E285B354B}" dt="2021-03-21T23:02:37.896" v="6045" actId="27803"/>
          <ac:spMkLst>
            <pc:docMk/>
            <pc:sldMk cId="2136510916" sldId="2134803580"/>
            <ac:spMk id="190" creationId="{95352A9F-B001-4ECF-9C89-6DC1D977D43C}"/>
          </ac:spMkLst>
        </pc:spChg>
        <pc:spChg chg="mod">
          <ac:chgData name="Pierre Cavaroc" userId="150eff99-6aed-48f0-b13c-cabd0a4b3ac2" providerId="ADAL" clId="{E623609C-0EF4-4ECB-A655-127E285B354B}" dt="2021-03-21T23:02:37.896" v="6045" actId="27803"/>
          <ac:spMkLst>
            <pc:docMk/>
            <pc:sldMk cId="2136510916" sldId="2134803580"/>
            <ac:spMk id="191" creationId="{7009CE31-2BAB-4CFE-B8B8-DC04E1E055B0}"/>
          </ac:spMkLst>
        </pc:spChg>
        <pc:spChg chg="mod">
          <ac:chgData name="Pierre Cavaroc" userId="150eff99-6aed-48f0-b13c-cabd0a4b3ac2" providerId="ADAL" clId="{E623609C-0EF4-4ECB-A655-127E285B354B}" dt="2021-03-21T23:02:37.896" v="6045" actId="27803"/>
          <ac:spMkLst>
            <pc:docMk/>
            <pc:sldMk cId="2136510916" sldId="2134803580"/>
            <ac:spMk id="192" creationId="{049584A1-662F-45AF-BA4A-342D1BF48902}"/>
          </ac:spMkLst>
        </pc:spChg>
        <pc:spChg chg="mod">
          <ac:chgData name="Pierre Cavaroc" userId="150eff99-6aed-48f0-b13c-cabd0a4b3ac2" providerId="ADAL" clId="{E623609C-0EF4-4ECB-A655-127E285B354B}" dt="2021-03-21T23:02:37.896" v="6045" actId="27803"/>
          <ac:spMkLst>
            <pc:docMk/>
            <pc:sldMk cId="2136510916" sldId="2134803580"/>
            <ac:spMk id="193" creationId="{D1E88E16-754A-450E-911C-8F4E70EEE4C8}"/>
          </ac:spMkLst>
        </pc:spChg>
        <pc:spChg chg="mod">
          <ac:chgData name="Pierre Cavaroc" userId="150eff99-6aed-48f0-b13c-cabd0a4b3ac2" providerId="ADAL" clId="{E623609C-0EF4-4ECB-A655-127E285B354B}" dt="2021-03-21T23:02:37.896" v="6045" actId="27803"/>
          <ac:spMkLst>
            <pc:docMk/>
            <pc:sldMk cId="2136510916" sldId="2134803580"/>
            <ac:spMk id="194" creationId="{C43CC5EE-7E5F-4A68-98E9-5B947CB8A68B}"/>
          </ac:spMkLst>
        </pc:spChg>
        <pc:spChg chg="mod">
          <ac:chgData name="Pierre Cavaroc" userId="150eff99-6aed-48f0-b13c-cabd0a4b3ac2" providerId="ADAL" clId="{E623609C-0EF4-4ECB-A655-127E285B354B}" dt="2021-03-21T23:02:37.896" v="6045" actId="27803"/>
          <ac:spMkLst>
            <pc:docMk/>
            <pc:sldMk cId="2136510916" sldId="2134803580"/>
            <ac:spMk id="195" creationId="{179AD996-4A74-4E4B-83B4-909816DF4D16}"/>
          </ac:spMkLst>
        </pc:spChg>
        <pc:spChg chg="mod">
          <ac:chgData name="Pierre Cavaroc" userId="150eff99-6aed-48f0-b13c-cabd0a4b3ac2" providerId="ADAL" clId="{E623609C-0EF4-4ECB-A655-127E285B354B}" dt="2021-03-21T23:02:37.896" v="6045" actId="27803"/>
          <ac:spMkLst>
            <pc:docMk/>
            <pc:sldMk cId="2136510916" sldId="2134803580"/>
            <ac:spMk id="196" creationId="{CD0CEA47-5F98-413C-AAB3-BD8745DD30E1}"/>
          </ac:spMkLst>
        </pc:spChg>
        <pc:spChg chg="mod">
          <ac:chgData name="Pierre Cavaroc" userId="150eff99-6aed-48f0-b13c-cabd0a4b3ac2" providerId="ADAL" clId="{E623609C-0EF4-4ECB-A655-127E285B354B}" dt="2021-03-21T23:02:37.896" v="6045" actId="27803"/>
          <ac:spMkLst>
            <pc:docMk/>
            <pc:sldMk cId="2136510916" sldId="2134803580"/>
            <ac:spMk id="197" creationId="{E47603EF-E218-4B3B-9B6F-7AB177E91BEC}"/>
          </ac:spMkLst>
        </pc:spChg>
        <pc:spChg chg="mod">
          <ac:chgData name="Pierre Cavaroc" userId="150eff99-6aed-48f0-b13c-cabd0a4b3ac2" providerId="ADAL" clId="{E623609C-0EF4-4ECB-A655-127E285B354B}" dt="2021-03-21T23:02:37.896" v="6045" actId="27803"/>
          <ac:spMkLst>
            <pc:docMk/>
            <pc:sldMk cId="2136510916" sldId="2134803580"/>
            <ac:spMk id="198" creationId="{B4AB9BA4-DF24-407A-A496-6D12419C7C6D}"/>
          </ac:spMkLst>
        </pc:spChg>
        <pc:spChg chg="mod">
          <ac:chgData name="Pierre Cavaroc" userId="150eff99-6aed-48f0-b13c-cabd0a4b3ac2" providerId="ADAL" clId="{E623609C-0EF4-4ECB-A655-127E285B354B}" dt="2021-03-21T23:02:37.896" v="6045" actId="27803"/>
          <ac:spMkLst>
            <pc:docMk/>
            <pc:sldMk cId="2136510916" sldId="2134803580"/>
            <ac:spMk id="199" creationId="{86DAACE7-5229-444F-AC12-64E947C68467}"/>
          </ac:spMkLst>
        </pc:spChg>
        <pc:spChg chg="mod">
          <ac:chgData name="Pierre Cavaroc" userId="150eff99-6aed-48f0-b13c-cabd0a4b3ac2" providerId="ADAL" clId="{E623609C-0EF4-4ECB-A655-127E285B354B}" dt="2021-03-21T23:02:37.896" v="6045" actId="27803"/>
          <ac:spMkLst>
            <pc:docMk/>
            <pc:sldMk cId="2136510916" sldId="2134803580"/>
            <ac:spMk id="200" creationId="{10818E0E-79AA-478B-A3EF-DE6775B7FF3F}"/>
          </ac:spMkLst>
        </pc:spChg>
        <pc:spChg chg="mod">
          <ac:chgData name="Pierre Cavaroc" userId="150eff99-6aed-48f0-b13c-cabd0a4b3ac2" providerId="ADAL" clId="{E623609C-0EF4-4ECB-A655-127E285B354B}" dt="2021-03-21T23:02:37.896" v="6045" actId="27803"/>
          <ac:spMkLst>
            <pc:docMk/>
            <pc:sldMk cId="2136510916" sldId="2134803580"/>
            <ac:spMk id="201" creationId="{8E04151E-04B8-44A8-84A5-B2E29BB499F6}"/>
          </ac:spMkLst>
        </pc:spChg>
        <pc:spChg chg="mod">
          <ac:chgData name="Pierre Cavaroc" userId="150eff99-6aed-48f0-b13c-cabd0a4b3ac2" providerId="ADAL" clId="{E623609C-0EF4-4ECB-A655-127E285B354B}" dt="2021-03-21T23:02:37.896" v="6045" actId="27803"/>
          <ac:spMkLst>
            <pc:docMk/>
            <pc:sldMk cId="2136510916" sldId="2134803580"/>
            <ac:spMk id="202" creationId="{DFCAB9C6-C9DE-4487-AC06-E14D43223FBC}"/>
          </ac:spMkLst>
        </pc:spChg>
        <pc:spChg chg="mod">
          <ac:chgData name="Pierre Cavaroc" userId="150eff99-6aed-48f0-b13c-cabd0a4b3ac2" providerId="ADAL" clId="{E623609C-0EF4-4ECB-A655-127E285B354B}" dt="2021-03-21T23:02:37.896" v="6045" actId="27803"/>
          <ac:spMkLst>
            <pc:docMk/>
            <pc:sldMk cId="2136510916" sldId="2134803580"/>
            <ac:spMk id="203" creationId="{1AE53849-2B0A-4203-A94D-D1B23CD50D51}"/>
          </ac:spMkLst>
        </pc:spChg>
        <pc:spChg chg="mod">
          <ac:chgData name="Pierre Cavaroc" userId="150eff99-6aed-48f0-b13c-cabd0a4b3ac2" providerId="ADAL" clId="{E623609C-0EF4-4ECB-A655-127E285B354B}" dt="2021-03-21T23:02:37.896" v="6045" actId="27803"/>
          <ac:spMkLst>
            <pc:docMk/>
            <pc:sldMk cId="2136510916" sldId="2134803580"/>
            <ac:spMk id="204" creationId="{BF8B9A44-0EF0-4767-A9DB-459EC534F40C}"/>
          </ac:spMkLst>
        </pc:spChg>
        <pc:spChg chg="mod">
          <ac:chgData name="Pierre Cavaroc" userId="150eff99-6aed-48f0-b13c-cabd0a4b3ac2" providerId="ADAL" clId="{E623609C-0EF4-4ECB-A655-127E285B354B}" dt="2021-03-21T23:02:37.896" v="6045" actId="27803"/>
          <ac:spMkLst>
            <pc:docMk/>
            <pc:sldMk cId="2136510916" sldId="2134803580"/>
            <ac:spMk id="205" creationId="{B5F12D5F-FCD5-4DF1-9717-C92FB62A3986}"/>
          </ac:spMkLst>
        </pc:spChg>
        <pc:spChg chg="mod">
          <ac:chgData name="Pierre Cavaroc" userId="150eff99-6aed-48f0-b13c-cabd0a4b3ac2" providerId="ADAL" clId="{E623609C-0EF4-4ECB-A655-127E285B354B}" dt="2021-03-21T23:02:37.896" v="6045" actId="27803"/>
          <ac:spMkLst>
            <pc:docMk/>
            <pc:sldMk cId="2136510916" sldId="2134803580"/>
            <ac:spMk id="206" creationId="{6EFF2376-95A0-41BE-A904-463D419CD485}"/>
          </ac:spMkLst>
        </pc:spChg>
        <pc:spChg chg="mod">
          <ac:chgData name="Pierre Cavaroc" userId="150eff99-6aed-48f0-b13c-cabd0a4b3ac2" providerId="ADAL" clId="{E623609C-0EF4-4ECB-A655-127E285B354B}" dt="2021-03-21T23:02:37.896" v="6045" actId="27803"/>
          <ac:spMkLst>
            <pc:docMk/>
            <pc:sldMk cId="2136510916" sldId="2134803580"/>
            <ac:spMk id="207" creationId="{2670B4C3-F24F-496B-B036-417F5E42FD8E}"/>
          </ac:spMkLst>
        </pc:spChg>
        <pc:spChg chg="mod">
          <ac:chgData name="Pierre Cavaroc" userId="150eff99-6aed-48f0-b13c-cabd0a4b3ac2" providerId="ADAL" clId="{E623609C-0EF4-4ECB-A655-127E285B354B}" dt="2021-03-21T23:02:37.896" v="6045" actId="27803"/>
          <ac:spMkLst>
            <pc:docMk/>
            <pc:sldMk cId="2136510916" sldId="2134803580"/>
            <ac:spMk id="208" creationId="{949737D4-59A4-4FD6-BB1F-2A173A419C39}"/>
          </ac:spMkLst>
        </pc:spChg>
        <pc:spChg chg="mod">
          <ac:chgData name="Pierre Cavaroc" userId="150eff99-6aed-48f0-b13c-cabd0a4b3ac2" providerId="ADAL" clId="{E623609C-0EF4-4ECB-A655-127E285B354B}" dt="2021-03-21T23:02:37.896" v="6045" actId="27803"/>
          <ac:spMkLst>
            <pc:docMk/>
            <pc:sldMk cId="2136510916" sldId="2134803580"/>
            <ac:spMk id="209" creationId="{AC8CBD41-C104-4B76-A6C9-C8B87E1FCF03}"/>
          </ac:spMkLst>
        </pc:spChg>
        <pc:spChg chg="mod">
          <ac:chgData name="Pierre Cavaroc" userId="150eff99-6aed-48f0-b13c-cabd0a4b3ac2" providerId="ADAL" clId="{E623609C-0EF4-4ECB-A655-127E285B354B}" dt="2021-03-21T23:02:37.896" v="6045" actId="27803"/>
          <ac:spMkLst>
            <pc:docMk/>
            <pc:sldMk cId="2136510916" sldId="2134803580"/>
            <ac:spMk id="210" creationId="{BC355FB9-0994-4EFE-A77B-DAEB357D25BF}"/>
          </ac:spMkLst>
        </pc:spChg>
        <pc:spChg chg="mod">
          <ac:chgData name="Pierre Cavaroc" userId="150eff99-6aed-48f0-b13c-cabd0a4b3ac2" providerId="ADAL" clId="{E623609C-0EF4-4ECB-A655-127E285B354B}" dt="2021-03-21T23:02:37.896" v="6045" actId="27803"/>
          <ac:spMkLst>
            <pc:docMk/>
            <pc:sldMk cId="2136510916" sldId="2134803580"/>
            <ac:spMk id="211" creationId="{022B5E7E-80E5-4CE2-84C4-A851A2E35924}"/>
          </ac:spMkLst>
        </pc:spChg>
        <pc:spChg chg="mod">
          <ac:chgData name="Pierre Cavaroc" userId="150eff99-6aed-48f0-b13c-cabd0a4b3ac2" providerId="ADAL" clId="{E623609C-0EF4-4ECB-A655-127E285B354B}" dt="2021-03-21T23:02:37.896" v="6045" actId="27803"/>
          <ac:spMkLst>
            <pc:docMk/>
            <pc:sldMk cId="2136510916" sldId="2134803580"/>
            <ac:spMk id="212" creationId="{D3DD427F-BF7E-4E20-8829-1B858B65A902}"/>
          </ac:spMkLst>
        </pc:spChg>
        <pc:spChg chg="mod">
          <ac:chgData name="Pierre Cavaroc" userId="150eff99-6aed-48f0-b13c-cabd0a4b3ac2" providerId="ADAL" clId="{E623609C-0EF4-4ECB-A655-127E285B354B}" dt="2021-03-21T23:02:37.896" v="6045" actId="27803"/>
          <ac:spMkLst>
            <pc:docMk/>
            <pc:sldMk cId="2136510916" sldId="2134803580"/>
            <ac:spMk id="213" creationId="{D168C8CA-2EBC-4DCC-8364-40A380D7F526}"/>
          </ac:spMkLst>
        </pc:spChg>
        <pc:spChg chg="mod">
          <ac:chgData name="Pierre Cavaroc" userId="150eff99-6aed-48f0-b13c-cabd0a4b3ac2" providerId="ADAL" clId="{E623609C-0EF4-4ECB-A655-127E285B354B}" dt="2021-03-21T23:02:37.896" v="6045" actId="27803"/>
          <ac:spMkLst>
            <pc:docMk/>
            <pc:sldMk cId="2136510916" sldId="2134803580"/>
            <ac:spMk id="214" creationId="{C9A857C2-5535-422A-885A-4A11FF2B8E58}"/>
          </ac:spMkLst>
        </pc:spChg>
        <pc:spChg chg="mod">
          <ac:chgData name="Pierre Cavaroc" userId="150eff99-6aed-48f0-b13c-cabd0a4b3ac2" providerId="ADAL" clId="{E623609C-0EF4-4ECB-A655-127E285B354B}" dt="2021-03-21T23:02:37.896" v="6045" actId="27803"/>
          <ac:spMkLst>
            <pc:docMk/>
            <pc:sldMk cId="2136510916" sldId="2134803580"/>
            <ac:spMk id="215" creationId="{C7278E0A-5179-4464-B419-1FAF0A5B0F2D}"/>
          </ac:spMkLst>
        </pc:spChg>
        <pc:spChg chg="mod">
          <ac:chgData name="Pierre Cavaroc" userId="150eff99-6aed-48f0-b13c-cabd0a4b3ac2" providerId="ADAL" clId="{E623609C-0EF4-4ECB-A655-127E285B354B}" dt="2021-03-21T23:02:37.896" v="6045" actId="27803"/>
          <ac:spMkLst>
            <pc:docMk/>
            <pc:sldMk cId="2136510916" sldId="2134803580"/>
            <ac:spMk id="216" creationId="{0D667C5D-A995-4BDD-8EFD-0032EBC378CB}"/>
          </ac:spMkLst>
        </pc:spChg>
        <pc:spChg chg="mod">
          <ac:chgData name="Pierre Cavaroc" userId="150eff99-6aed-48f0-b13c-cabd0a4b3ac2" providerId="ADAL" clId="{E623609C-0EF4-4ECB-A655-127E285B354B}" dt="2021-03-21T23:02:37.896" v="6045" actId="27803"/>
          <ac:spMkLst>
            <pc:docMk/>
            <pc:sldMk cId="2136510916" sldId="2134803580"/>
            <ac:spMk id="217" creationId="{28037B87-C42A-4878-A16F-5BF8F302DAFC}"/>
          </ac:spMkLst>
        </pc:spChg>
        <pc:spChg chg="mod">
          <ac:chgData name="Pierre Cavaroc" userId="150eff99-6aed-48f0-b13c-cabd0a4b3ac2" providerId="ADAL" clId="{E623609C-0EF4-4ECB-A655-127E285B354B}" dt="2021-03-21T23:02:37.896" v="6045" actId="27803"/>
          <ac:spMkLst>
            <pc:docMk/>
            <pc:sldMk cId="2136510916" sldId="2134803580"/>
            <ac:spMk id="218" creationId="{ADA6D67B-1806-4FB2-BCAB-4F32CA7762CD}"/>
          </ac:spMkLst>
        </pc:spChg>
        <pc:spChg chg="mod">
          <ac:chgData name="Pierre Cavaroc" userId="150eff99-6aed-48f0-b13c-cabd0a4b3ac2" providerId="ADAL" clId="{E623609C-0EF4-4ECB-A655-127E285B354B}" dt="2021-03-21T23:02:37.896" v="6045" actId="27803"/>
          <ac:spMkLst>
            <pc:docMk/>
            <pc:sldMk cId="2136510916" sldId="2134803580"/>
            <ac:spMk id="219" creationId="{2CE0A8CB-300F-4352-981E-A1A10C9164BB}"/>
          </ac:spMkLst>
        </pc:spChg>
        <pc:spChg chg="mod">
          <ac:chgData name="Pierre Cavaroc" userId="150eff99-6aed-48f0-b13c-cabd0a4b3ac2" providerId="ADAL" clId="{E623609C-0EF4-4ECB-A655-127E285B354B}" dt="2021-03-21T23:02:37.896" v="6045" actId="27803"/>
          <ac:spMkLst>
            <pc:docMk/>
            <pc:sldMk cId="2136510916" sldId="2134803580"/>
            <ac:spMk id="220" creationId="{6F3D5873-E4FF-4493-940A-31208F676F65}"/>
          </ac:spMkLst>
        </pc:spChg>
        <pc:spChg chg="mod">
          <ac:chgData name="Pierre Cavaroc" userId="150eff99-6aed-48f0-b13c-cabd0a4b3ac2" providerId="ADAL" clId="{E623609C-0EF4-4ECB-A655-127E285B354B}" dt="2021-03-21T23:02:37.896" v="6045" actId="27803"/>
          <ac:spMkLst>
            <pc:docMk/>
            <pc:sldMk cId="2136510916" sldId="2134803580"/>
            <ac:spMk id="221" creationId="{B027EBBA-5C0D-4E7A-9351-959F47667433}"/>
          </ac:spMkLst>
        </pc:spChg>
        <pc:spChg chg="mod">
          <ac:chgData name="Pierre Cavaroc" userId="150eff99-6aed-48f0-b13c-cabd0a4b3ac2" providerId="ADAL" clId="{E623609C-0EF4-4ECB-A655-127E285B354B}" dt="2021-03-21T23:02:37.896" v="6045" actId="27803"/>
          <ac:spMkLst>
            <pc:docMk/>
            <pc:sldMk cId="2136510916" sldId="2134803580"/>
            <ac:spMk id="222" creationId="{4372A708-9D09-4D2A-8971-FD4B4ADF2A70}"/>
          </ac:spMkLst>
        </pc:spChg>
        <pc:spChg chg="mod">
          <ac:chgData name="Pierre Cavaroc" userId="150eff99-6aed-48f0-b13c-cabd0a4b3ac2" providerId="ADAL" clId="{E623609C-0EF4-4ECB-A655-127E285B354B}" dt="2021-03-21T23:02:37.896" v="6045" actId="27803"/>
          <ac:spMkLst>
            <pc:docMk/>
            <pc:sldMk cId="2136510916" sldId="2134803580"/>
            <ac:spMk id="223" creationId="{A9601418-6BCE-4CEE-B084-9B918CB00448}"/>
          </ac:spMkLst>
        </pc:spChg>
        <pc:spChg chg="mod">
          <ac:chgData name="Pierre Cavaroc" userId="150eff99-6aed-48f0-b13c-cabd0a4b3ac2" providerId="ADAL" clId="{E623609C-0EF4-4ECB-A655-127E285B354B}" dt="2021-03-21T23:02:37.896" v="6045" actId="27803"/>
          <ac:spMkLst>
            <pc:docMk/>
            <pc:sldMk cId="2136510916" sldId="2134803580"/>
            <ac:spMk id="224" creationId="{DBBA5CAF-6C7C-455E-80C8-0290C03D4247}"/>
          </ac:spMkLst>
        </pc:spChg>
        <pc:spChg chg="mod">
          <ac:chgData name="Pierre Cavaroc" userId="150eff99-6aed-48f0-b13c-cabd0a4b3ac2" providerId="ADAL" clId="{E623609C-0EF4-4ECB-A655-127E285B354B}" dt="2021-03-21T23:02:37.896" v="6045" actId="27803"/>
          <ac:spMkLst>
            <pc:docMk/>
            <pc:sldMk cId="2136510916" sldId="2134803580"/>
            <ac:spMk id="225" creationId="{F62D05DF-982E-42EA-8625-6BE472526C9B}"/>
          </ac:spMkLst>
        </pc:spChg>
        <pc:spChg chg="mod">
          <ac:chgData name="Pierre Cavaroc" userId="150eff99-6aed-48f0-b13c-cabd0a4b3ac2" providerId="ADAL" clId="{E623609C-0EF4-4ECB-A655-127E285B354B}" dt="2021-03-21T23:02:37.896" v="6045" actId="27803"/>
          <ac:spMkLst>
            <pc:docMk/>
            <pc:sldMk cId="2136510916" sldId="2134803580"/>
            <ac:spMk id="226" creationId="{8AFD5740-AEDD-4EA1-8900-9D165FABF7CA}"/>
          </ac:spMkLst>
        </pc:spChg>
        <pc:spChg chg="mod">
          <ac:chgData name="Pierre Cavaroc" userId="150eff99-6aed-48f0-b13c-cabd0a4b3ac2" providerId="ADAL" clId="{E623609C-0EF4-4ECB-A655-127E285B354B}" dt="2021-03-21T23:02:37.896" v="6045" actId="27803"/>
          <ac:spMkLst>
            <pc:docMk/>
            <pc:sldMk cId="2136510916" sldId="2134803580"/>
            <ac:spMk id="227" creationId="{7D8EED48-2B35-4E04-8083-613160408466}"/>
          </ac:spMkLst>
        </pc:spChg>
        <pc:spChg chg="mod">
          <ac:chgData name="Pierre Cavaroc" userId="150eff99-6aed-48f0-b13c-cabd0a4b3ac2" providerId="ADAL" clId="{E623609C-0EF4-4ECB-A655-127E285B354B}" dt="2021-03-21T23:02:37.896" v="6045" actId="27803"/>
          <ac:spMkLst>
            <pc:docMk/>
            <pc:sldMk cId="2136510916" sldId="2134803580"/>
            <ac:spMk id="228" creationId="{0AA5F067-5D49-47C1-BCFB-B17FFFC53285}"/>
          </ac:spMkLst>
        </pc:spChg>
        <pc:spChg chg="mod">
          <ac:chgData name="Pierre Cavaroc" userId="150eff99-6aed-48f0-b13c-cabd0a4b3ac2" providerId="ADAL" clId="{E623609C-0EF4-4ECB-A655-127E285B354B}" dt="2021-03-21T23:02:37.896" v="6045" actId="27803"/>
          <ac:spMkLst>
            <pc:docMk/>
            <pc:sldMk cId="2136510916" sldId="2134803580"/>
            <ac:spMk id="229" creationId="{2EE2943E-2082-4F60-86D7-124937A0F35A}"/>
          </ac:spMkLst>
        </pc:spChg>
        <pc:spChg chg="mod">
          <ac:chgData name="Pierre Cavaroc" userId="150eff99-6aed-48f0-b13c-cabd0a4b3ac2" providerId="ADAL" clId="{E623609C-0EF4-4ECB-A655-127E285B354B}" dt="2021-03-21T23:02:37.896" v="6045" actId="27803"/>
          <ac:spMkLst>
            <pc:docMk/>
            <pc:sldMk cId="2136510916" sldId="2134803580"/>
            <ac:spMk id="230" creationId="{59863A56-BE80-4EDA-9706-92A6E86E125E}"/>
          </ac:spMkLst>
        </pc:spChg>
        <pc:spChg chg="mod">
          <ac:chgData name="Pierre Cavaroc" userId="150eff99-6aed-48f0-b13c-cabd0a4b3ac2" providerId="ADAL" clId="{E623609C-0EF4-4ECB-A655-127E285B354B}" dt="2021-03-21T23:02:37.896" v="6045" actId="27803"/>
          <ac:spMkLst>
            <pc:docMk/>
            <pc:sldMk cId="2136510916" sldId="2134803580"/>
            <ac:spMk id="231" creationId="{BA5BA7B5-4A0A-480E-8984-53CA23FB7F8C}"/>
          </ac:spMkLst>
        </pc:spChg>
        <pc:spChg chg="mod">
          <ac:chgData name="Pierre Cavaroc" userId="150eff99-6aed-48f0-b13c-cabd0a4b3ac2" providerId="ADAL" clId="{E623609C-0EF4-4ECB-A655-127E285B354B}" dt="2021-03-21T23:02:37.896" v="6045" actId="27803"/>
          <ac:spMkLst>
            <pc:docMk/>
            <pc:sldMk cId="2136510916" sldId="2134803580"/>
            <ac:spMk id="232" creationId="{D5034071-CD84-4EE0-9246-EBC7E7A4F7D5}"/>
          </ac:spMkLst>
        </pc:spChg>
        <pc:spChg chg="mod">
          <ac:chgData name="Pierre Cavaroc" userId="150eff99-6aed-48f0-b13c-cabd0a4b3ac2" providerId="ADAL" clId="{E623609C-0EF4-4ECB-A655-127E285B354B}" dt="2021-03-21T23:02:37.896" v="6045" actId="27803"/>
          <ac:spMkLst>
            <pc:docMk/>
            <pc:sldMk cId="2136510916" sldId="2134803580"/>
            <ac:spMk id="233" creationId="{D9465ECE-EBB8-4927-B451-CD7951730DC1}"/>
          </ac:spMkLst>
        </pc:spChg>
        <pc:spChg chg="mod">
          <ac:chgData name="Pierre Cavaroc" userId="150eff99-6aed-48f0-b13c-cabd0a4b3ac2" providerId="ADAL" clId="{E623609C-0EF4-4ECB-A655-127E285B354B}" dt="2021-03-21T23:02:37.896" v="6045" actId="27803"/>
          <ac:spMkLst>
            <pc:docMk/>
            <pc:sldMk cId="2136510916" sldId="2134803580"/>
            <ac:spMk id="234" creationId="{093EDD72-CA8A-4271-9676-AB486C467250}"/>
          </ac:spMkLst>
        </pc:spChg>
        <pc:spChg chg="mod">
          <ac:chgData name="Pierre Cavaroc" userId="150eff99-6aed-48f0-b13c-cabd0a4b3ac2" providerId="ADAL" clId="{E623609C-0EF4-4ECB-A655-127E285B354B}" dt="2021-03-21T23:02:37.896" v="6045" actId="27803"/>
          <ac:spMkLst>
            <pc:docMk/>
            <pc:sldMk cId="2136510916" sldId="2134803580"/>
            <ac:spMk id="235" creationId="{17EA00B0-01EC-4B74-9739-890B9AA96F85}"/>
          </ac:spMkLst>
        </pc:spChg>
        <pc:spChg chg="mod">
          <ac:chgData name="Pierre Cavaroc" userId="150eff99-6aed-48f0-b13c-cabd0a4b3ac2" providerId="ADAL" clId="{E623609C-0EF4-4ECB-A655-127E285B354B}" dt="2021-03-21T23:02:37.896" v="6045" actId="27803"/>
          <ac:spMkLst>
            <pc:docMk/>
            <pc:sldMk cId="2136510916" sldId="2134803580"/>
            <ac:spMk id="236" creationId="{CB9578C3-EB2B-41F1-AC52-6AE145B1132B}"/>
          </ac:spMkLst>
        </pc:spChg>
        <pc:spChg chg="mod">
          <ac:chgData name="Pierre Cavaroc" userId="150eff99-6aed-48f0-b13c-cabd0a4b3ac2" providerId="ADAL" clId="{E623609C-0EF4-4ECB-A655-127E285B354B}" dt="2021-03-21T23:02:37.896" v="6045" actId="27803"/>
          <ac:spMkLst>
            <pc:docMk/>
            <pc:sldMk cId="2136510916" sldId="2134803580"/>
            <ac:spMk id="237" creationId="{8AF9BF9C-D37A-438C-8287-2B472495F5A3}"/>
          </ac:spMkLst>
        </pc:spChg>
        <pc:spChg chg="mod">
          <ac:chgData name="Pierre Cavaroc" userId="150eff99-6aed-48f0-b13c-cabd0a4b3ac2" providerId="ADAL" clId="{E623609C-0EF4-4ECB-A655-127E285B354B}" dt="2021-03-21T23:02:37.896" v="6045" actId="27803"/>
          <ac:spMkLst>
            <pc:docMk/>
            <pc:sldMk cId="2136510916" sldId="2134803580"/>
            <ac:spMk id="238" creationId="{4137C063-56D8-424A-9D40-91FB4EB20EE3}"/>
          </ac:spMkLst>
        </pc:spChg>
        <pc:spChg chg="mod">
          <ac:chgData name="Pierre Cavaroc" userId="150eff99-6aed-48f0-b13c-cabd0a4b3ac2" providerId="ADAL" clId="{E623609C-0EF4-4ECB-A655-127E285B354B}" dt="2021-03-21T23:02:37.896" v="6045" actId="27803"/>
          <ac:spMkLst>
            <pc:docMk/>
            <pc:sldMk cId="2136510916" sldId="2134803580"/>
            <ac:spMk id="239" creationId="{124E35C2-53F7-4855-A4E9-66E596BE9784}"/>
          </ac:spMkLst>
        </pc:spChg>
        <pc:spChg chg="mod">
          <ac:chgData name="Pierre Cavaroc" userId="150eff99-6aed-48f0-b13c-cabd0a4b3ac2" providerId="ADAL" clId="{E623609C-0EF4-4ECB-A655-127E285B354B}" dt="2021-03-21T23:02:37.896" v="6045" actId="27803"/>
          <ac:spMkLst>
            <pc:docMk/>
            <pc:sldMk cId="2136510916" sldId="2134803580"/>
            <ac:spMk id="240" creationId="{C56CBC8D-7E7D-42F8-A50D-3ADC07E87CD7}"/>
          </ac:spMkLst>
        </pc:spChg>
        <pc:spChg chg="mod">
          <ac:chgData name="Pierre Cavaroc" userId="150eff99-6aed-48f0-b13c-cabd0a4b3ac2" providerId="ADAL" clId="{E623609C-0EF4-4ECB-A655-127E285B354B}" dt="2021-03-21T23:02:37.896" v="6045" actId="27803"/>
          <ac:spMkLst>
            <pc:docMk/>
            <pc:sldMk cId="2136510916" sldId="2134803580"/>
            <ac:spMk id="241" creationId="{1D3A9137-115D-4A49-9519-6A0DF98CBB8F}"/>
          </ac:spMkLst>
        </pc:spChg>
        <pc:spChg chg="mod">
          <ac:chgData name="Pierre Cavaroc" userId="150eff99-6aed-48f0-b13c-cabd0a4b3ac2" providerId="ADAL" clId="{E623609C-0EF4-4ECB-A655-127E285B354B}" dt="2021-03-21T23:02:37.896" v="6045" actId="27803"/>
          <ac:spMkLst>
            <pc:docMk/>
            <pc:sldMk cId="2136510916" sldId="2134803580"/>
            <ac:spMk id="242" creationId="{AF596BDE-5616-4575-B8ED-FE9ADE822CA6}"/>
          </ac:spMkLst>
        </pc:spChg>
        <pc:spChg chg="mod">
          <ac:chgData name="Pierre Cavaroc" userId="150eff99-6aed-48f0-b13c-cabd0a4b3ac2" providerId="ADAL" clId="{E623609C-0EF4-4ECB-A655-127E285B354B}" dt="2021-03-21T23:02:37.896" v="6045" actId="27803"/>
          <ac:spMkLst>
            <pc:docMk/>
            <pc:sldMk cId="2136510916" sldId="2134803580"/>
            <ac:spMk id="243" creationId="{17F00E20-07B4-4E9E-B21F-06C5C4517715}"/>
          </ac:spMkLst>
        </pc:spChg>
        <pc:spChg chg="mod">
          <ac:chgData name="Pierre Cavaroc" userId="150eff99-6aed-48f0-b13c-cabd0a4b3ac2" providerId="ADAL" clId="{E623609C-0EF4-4ECB-A655-127E285B354B}" dt="2021-03-21T23:02:37.896" v="6045" actId="27803"/>
          <ac:spMkLst>
            <pc:docMk/>
            <pc:sldMk cId="2136510916" sldId="2134803580"/>
            <ac:spMk id="244" creationId="{C908DE0A-3141-49B8-A836-95554B441820}"/>
          </ac:spMkLst>
        </pc:spChg>
        <pc:spChg chg="mod">
          <ac:chgData name="Pierre Cavaroc" userId="150eff99-6aed-48f0-b13c-cabd0a4b3ac2" providerId="ADAL" clId="{E623609C-0EF4-4ECB-A655-127E285B354B}" dt="2021-03-21T23:02:37.896" v="6045" actId="27803"/>
          <ac:spMkLst>
            <pc:docMk/>
            <pc:sldMk cId="2136510916" sldId="2134803580"/>
            <ac:spMk id="245" creationId="{532847AE-1AFF-4507-B4B2-1A1323517ABD}"/>
          </ac:spMkLst>
        </pc:spChg>
        <pc:spChg chg="mod">
          <ac:chgData name="Pierre Cavaroc" userId="150eff99-6aed-48f0-b13c-cabd0a4b3ac2" providerId="ADAL" clId="{E623609C-0EF4-4ECB-A655-127E285B354B}" dt="2021-03-21T23:02:37.896" v="6045" actId="27803"/>
          <ac:spMkLst>
            <pc:docMk/>
            <pc:sldMk cId="2136510916" sldId="2134803580"/>
            <ac:spMk id="246" creationId="{91B2DBCA-E0ED-4ECD-A294-3667CFAD9FAC}"/>
          </ac:spMkLst>
        </pc:spChg>
        <pc:spChg chg="mod">
          <ac:chgData name="Pierre Cavaroc" userId="150eff99-6aed-48f0-b13c-cabd0a4b3ac2" providerId="ADAL" clId="{E623609C-0EF4-4ECB-A655-127E285B354B}" dt="2021-03-21T23:02:37.896" v="6045" actId="27803"/>
          <ac:spMkLst>
            <pc:docMk/>
            <pc:sldMk cId="2136510916" sldId="2134803580"/>
            <ac:spMk id="247" creationId="{60EB6CA2-D618-421C-86CA-91278CF2F97C}"/>
          </ac:spMkLst>
        </pc:spChg>
        <pc:spChg chg="mod">
          <ac:chgData name="Pierre Cavaroc" userId="150eff99-6aed-48f0-b13c-cabd0a4b3ac2" providerId="ADAL" clId="{E623609C-0EF4-4ECB-A655-127E285B354B}" dt="2021-03-21T23:02:37.896" v="6045" actId="27803"/>
          <ac:spMkLst>
            <pc:docMk/>
            <pc:sldMk cId="2136510916" sldId="2134803580"/>
            <ac:spMk id="248" creationId="{5A394C73-EE40-4779-BEFB-01C7A0B99389}"/>
          </ac:spMkLst>
        </pc:spChg>
        <pc:spChg chg="mod">
          <ac:chgData name="Pierre Cavaroc" userId="150eff99-6aed-48f0-b13c-cabd0a4b3ac2" providerId="ADAL" clId="{E623609C-0EF4-4ECB-A655-127E285B354B}" dt="2021-03-21T23:02:37.896" v="6045" actId="27803"/>
          <ac:spMkLst>
            <pc:docMk/>
            <pc:sldMk cId="2136510916" sldId="2134803580"/>
            <ac:spMk id="249" creationId="{A86D02F3-9185-46C6-AADD-0D9CEED6DB7F}"/>
          </ac:spMkLst>
        </pc:spChg>
        <pc:spChg chg="mod">
          <ac:chgData name="Pierre Cavaroc" userId="150eff99-6aed-48f0-b13c-cabd0a4b3ac2" providerId="ADAL" clId="{E623609C-0EF4-4ECB-A655-127E285B354B}" dt="2021-03-21T23:02:37.896" v="6045" actId="27803"/>
          <ac:spMkLst>
            <pc:docMk/>
            <pc:sldMk cId="2136510916" sldId="2134803580"/>
            <ac:spMk id="250" creationId="{FC1D87C7-5BD6-4F59-8FE5-1E6666E256C3}"/>
          </ac:spMkLst>
        </pc:spChg>
        <pc:spChg chg="mod">
          <ac:chgData name="Pierre Cavaroc" userId="150eff99-6aed-48f0-b13c-cabd0a4b3ac2" providerId="ADAL" clId="{E623609C-0EF4-4ECB-A655-127E285B354B}" dt="2021-03-21T23:02:37.896" v="6045" actId="27803"/>
          <ac:spMkLst>
            <pc:docMk/>
            <pc:sldMk cId="2136510916" sldId="2134803580"/>
            <ac:spMk id="251" creationId="{0543F672-3EDD-4E53-A403-7CB3DB1456A5}"/>
          </ac:spMkLst>
        </pc:spChg>
        <pc:spChg chg="mod">
          <ac:chgData name="Pierre Cavaroc" userId="150eff99-6aed-48f0-b13c-cabd0a4b3ac2" providerId="ADAL" clId="{E623609C-0EF4-4ECB-A655-127E285B354B}" dt="2021-03-21T23:02:37.896" v="6045" actId="27803"/>
          <ac:spMkLst>
            <pc:docMk/>
            <pc:sldMk cId="2136510916" sldId="2134803580"/>
            <ac:spMk id="252" creationId="{448CCEBE-6C44-4612-BC61-8F2207017C31}"/>
          </ac:spMkLst>
        </pc:spChg>
        <pc:spChg chg="mod">
          <ac:chgData name="Pierre Cavaroc" userId="150eff99-6aed-48f0-b13c-cabd0a4b3ac2" providerId="ADAL" clId="{E623609C-0EF4-4ECB-A655-127E285B354B}" dt="2021-03-21T23:02:37.896" v="6045" actId="27803"/>
          <ac:spMkLst>
            <pc:docMk/>
            <pc:sldMk cId="2136510916" sldId="2134803580"/>
            <ac:spMk id="253" creationId="{F595E4CA-E798-47B4-8226-1A6D801CBE9B}"/>
          </ac:spMkLst>
        </pc:spChg>
        <pc:spChg chg="mod">
          <ac:chgData name="Pierre Cavaroc" userId="150eff99-6aed-48f0-b13c-cabd0a4b3ac2" providerId="ADAL" clId="{E623609C-0EF4-4ECB-A655-127E285B354B}" dt="2021-03-21T23:02:37.896" v="6045" actId="27803"/>
          <ac:spMkLst>
            <pc:docMk/>
            <pc:sldMk cId="2136510916" sldId="2134803580"/>
            <ac:spMk id="254" creationId="{1328BD8F-28A7-4B85-888B-1E2B0DF2AE6C}"/>
          </ac:spMkLst>
        </pc:spChg>
        <pc:spChg chg="mod">
          <ac:chgData name="Pierre Cavaroc" userId="150eff99-6aed-48f0-b13c-cabd0a4b3ac2" providerId="ADAL" clId="{E623609C-0EF4-4ECB-A655-127E285B354B}" dt="2021-03-21T23:02:37.896" v="6045" actId="27803"/>
          <ac:spMkLst>
            <pc:docMk/>
            <pc:sldMk cId="2136510916" sldId="2134803580"/>
            <ac:spMk id="255" creationId="{D42C7E26-2194-4575-9E9D-D395343888D0}"/>
          </ac:spMkLst>
        </pc:spChg>
        <pc:spChg chg="mod">
          <ac:chgData name="Pierre Cavaroc" userId="150eff99-6aed-48f0-b13c-cabd0a4b3ac2" providerId="ADAL" clId="{E623609C-0EF4-4ECB-A655-127E285B354B}" dt="2021-03-21T23:02:37.896" v="6045" actId="27803"/>
          <ac:spMkLst>
            <pc:docMk/>
            <pc:sldMk cId="2136510916" sldId="2134803580"/>
            <ac:spMk id="256" creationId="{6E64C05A-1664-49A5-8B80-A88BB47FBCBC}"/>
          </ac:spMkLst>
        </pc:spChg>
        <pc:spChg chg="mod">
          <ac:chgData name="Pierre Cavaroc" userId="150eff99-6aed-48f0-b13c-cabd0a4b3ac2" providerId="ADAL" clId="{E623609C-0EF4-4ECB-A655-127E285B354B}" dt="2021-03-21T23:02:37.896" v="6045" actId="27803"/>
          <ac:spMkLst>
            <pc:docMk/>
            <pc:sldMk cId="2136510916" sldId="2134803580"/>
            <ac:spMk id="257" creationId="{C6469402-D1E3-48C9-9BA3-AE9F52B7BDDE}"/>
          </ac:spMkLst>
        </pc:spChg>
        <pc:spChg chg="mod">
          <ac:chgData name="Pierre Cavaroc" userId="150eff99-6aed-48f0-b13c-cabd0a4b3ac2" providerId="ADAL" clId="{E623609C-0EF4-4ECB-A655-127E285B354B}" dt="2021-03-21T23:02:37.896" v="6045" actId="27803"/>
          <ac:spMkLst>
            <pc:docMk/>
            <pc:sldMk cId="2136510916" sldId="2134803580"/>
            <ac:spMk id="258" creationId="{510EE6E0-9A14-4527-A4C6-B3E086B4E9ED}"/>
          </ac:spMkLst>
        </pc:spChg>
        <pc:spChg chg="mod">
          <ac:chgData name="Pierre Cavaroc" userId="150eff99-6aed-48f0-b13c-cabd0a4b3ac2" providerId="ADAL" clId="{E623609C-0EF4-4ECB-A655-127E285B354B}" dt="2021-03-21T23:02:37.896" v="6045" actId="27803"/>
          <ac:spMkLst>
            <pc:docMk/>
            <pc:sldMk cId="2136510916" sldId="2134803580"/>
            <ac:spMk id="259" creationId="{369C537A-388C-4E35-B989-C4B4A2A414F2}"/>
          </ac:spMkLst>
        </pc:spChg>
        <pc:spChg chg="mod">
          <ac:chgData name="Pierre Cavaroc" userId="150eff99-6aed-48f0-b13c-cabd0a4b3ac2" providerId="ADAL" clId="{E623609C-0EF4-4ECB-A655-127E285B354B}" dt="2021-03-21T23:02:37.896" v="6045" actId="27803"/>
          <ac:spMkLst>
            <pc:docMk/>
            <pc:sldMk cId="2136510916" sldId="2134803580"/>
            <ac:spMk id="260" creationId="{2535BDCC-032B-4505-B78F-7FFE264A7DDD}"/>
          </ac:spMkLst>
        </pc:spChg>
        <pc:spChg chg="mod">
          <ac:chgData name="Pierre Cavaroc" userId="150eff99-6aed-48f0-b13c-cabd0a4b3ac2" providerId="ADAL" clId="{E623609C-0EF4-4ECB-A655-127E285B354B}" dt="2021-03-21T23:02:37.896" v="6045" actId="27803"/>
          <ac:spMkLst>
            <pc:docMk/>
            <pc:sldMk cId="2136510916" sldId="2134803580"/>
            <ac:spMk id="261" creationId="{69947EB4-5323-40FA-A029-A28B2497DCCB}"/>
          </ac:spMkLst>
        </pc:spChg>
        <pc:spChg chg="mod">
          <ac:chgData name="Pierre Cavaroc" userId="150eff99-6aed-48f0-b13c-cabd0a4b3ac2" providerId="ADAL" clId="{E623609C-0EF4-4ECB-A655-127E285B354B}" dt="2021-03-21T23:02:37.896" v="6045" actId="27803"/>
          <ac:spMkLst>
            <pc:docMk/>
            <pc:sldMk cId="2136510916" sldId="2134803580"/>
            <ac:spMk id="262" creationId="{93C2CE5C-A2CC-49F7-A952-25CDAC4D5E99}"/>
          </ac:spMkLst>
        </pc:spChg>
        <pc:spChg chg="mod">
          <ac:chgData name="Pierre Cavaroc" userId="150eff99-6aed-48f0-b13c-cabd0a4b3ac2" providerId="ADAL" clId="{E623609C-0EF4-4ECB-A655-127E285B354B}" dt="2021-03-21T23:02:37.896" v="6045" actId="27803"/>
          <ac:spMkLst>
            <pc:docMk/>
            <pc:sldMk cId="2136510916" sldId="2134803580"/>
            <ac:spMk id="263" creationId="{507EB270-A144-4520-87FC-B464FD339DC6}"/>
          </ac:spMkLst>
        </pc:spChg>
        <pc:spChg chg="mod">
          <ac:chgData name="Pierre Cavaroc" userId="150eff99-6aed-48f0-b13c-cabd0a4b3ac2" providerId="ADAL" clId="{E623609C-0EF4-4ECB-A655-127E285B354B}" dt="2021-03-21T23:02:37.896" v="6045" actId="27803"/>
          <ac:spMkLst>
            <pc:docMk/>
            <pc:sldMk cId="2136510916" sldId="2134803580"/>
            <ac:spMk id="264" creationId="{CD334CD5-55BF-4EA1-B356-A551FD53E141}"/>
          </ac:spMkLst>
        </pc:spChg>
        <pc:spChg chg="mod">
          <ac:chgData name="Pierre Cavaroc" userId="150eff99-6aed-48f0-b13c-cabd0a4b3ac2" providerId="ADAL" clId="{E623609C-0EF4-4ECB-A655-127E285B354B}" dt="2021-03-21T23:02:37.896" v="6045" actId="27803"/>
          <ac:spMkLst>
            <pc:docMk/>
            <pc:sldMk cId="2136510916" sldId="2134803580"/>
            <ac:spMk id="265" creationId="{76D29831-4350-43DF-96E1-23B7FE2A0FA4}"/>
          </ac:spMkLst>
        </pc:spChg>
        <pc:spChg chg="mod">
          <ac:chgData name="Pierre Cavaroc" userId="150eff99-6aed-48f0-b13c-cabd0a4b3ac2" providerId="ADAL" clId="{E623609C-0EF4-4ECB-A655-127E285B354B}" dt="2021-03-21T23:02:37.896" v="6045" actId="27803"/>
          <ac:spMkLst>
            <pc:docMk/>
            <pc:sldMk cId="2136510916" sldId="2134803580"/>
            <ac:spMk id="266" creationId="{E60E4EE3-7670-442F-AF94-63AA1CD353C7}"/>
          </ac:spMkLst>
        </pc:spChg>
        <pc:spChg chg="mod">
          <ac:chgData name="Pierre Cavaroc" userId="150eff99-6aed-48f0-b13c-cabd0a4b3ac2" providerId="ADAL" clId="{E623609C-0EF4-4ECB-A655-127E285B354B}" dt="2021-03-21T23:02:37.896" v="6045" actId="27803"/>
          <ac:spMkLst>
            <pc:docMk/>
            <pc:sldMk cId="2136510916" sldId="2134803580"/>
            <ac:spMk id="267" creationId="{819804C7-504B-40C3-BFE4-C12D04DEDD98}"/>
          </ac:spMkLst>
        </pc:spChg>
        <pc:spChg chg="mod">
          <ac:chgData name="Pierre Cavaroc" userId="150eff99-6aed-48f0-b13c-cabd0a4b3ac2" providerId="ADAL" clId="{E623609C-0EF4-4ECB-A655-127E285B354B}" dt="2021-03-21T23:02:37.896" v="6045" actId="27803"/>
          <ac:spMkLst>
            <pc:docMk/>
            <pc:sldMk cId="2136510916" sldId="2134803580"/>
            <ac:spMk id="268" creationId="{06CBFA1D-D487-4492-9A7E-B9263FBF7D33}"/>
          </ac:spMkLst>
        </pc:spChg>
        <pc:spChg chg="mod">
          <ac:chgData name="Pierre Cavaroc" userId="150eff99-6aed-48f0-b13c-cabd0a4b3ac2" providerId="ADAL" clId="{E623609C-0EF4-4ECB-A655-127E285B354B}" dt="2021-03-21T23:02:37.896" v="6045" actId="27803"/>
          <ac:spMkLst>
            <pc:docMk/>
            <pc:sldMk cId="2136510916" sldId="2134803580"/>
            <ac:spMk id="269" creationId="{86BD69D9-7F1D-49CE-8F34-00650E075DBD}"/>
          </ac:spMkLst>
        </pc:spChg>
        <pc:spChg chg="mod">
          <ac:chgData name="Pierre Cavaroc" userId="150eff99-6aed-48f0-b13c-cabd0a4b3ac2" providerId="ADAL" clId="{E623609C-0EF4-4ECB-A655-127E285B354B}" dt="2021-03-21T23:02:37.896" v="6045" actId="27803"/>
          <ac:spMkLst>
            <pc:docMk/>
            <pc:sldMk cId="2136510916" sldId="2134803580"/>
            <ac:spMk id="270" creationId="{D3812676-99B9-4ACB-902F-18DC8343BC73}"/>
          </ac:spMkLst>
        </pc:spChg>
        <pc:spChg chg="mod">
          <ac:chgData name="Pierre Cavaroc" userId="150eff99-6aed-48f0-b13c-cabd0a4b3ac2" providerId="ADAL" clId="{E623609C-0EF4-4ECB-A655-127E285B354B}" dt="2021-03-21T23:02:37.896" v="6045" actId="27803"/>
          <ac:spMkLst>
            <pc:docMk/>
            <pc:sldMk cId="2136510916" sldId="2134803580"/>
            <ac:spMk id="271" creationId="{6B9817C6-DF7A-4EA5-B511-B350268E3C16}"/>
          </ac:spMkLst>
        </pc:spChg>
        <pc:spChg chg="mod">
          <ac:chgData name="Pierre Cavaroc" userId="150eff99-6aed-48f0-b13c-cabd0a4b3ac2" providerId="ADAL" clId="{E623609C-0EF4-4ECB-A655-127E285B354B}" dt="2021-03-21T23:02:37.896" v="6045" actId="27803"/>
          <ac:spMkLst>
            <pc:docMk/>
            <pc:sldMk cId="2136510916" sldId="2134803580"/>
            <ac:spMk id="272" creationId="{71FE8607-3B6F-4F34-908F-74FDB36E4D61}"/>
          </ac:spMkLst>
        </pc:spChg>
        <pc:spChg chg="mod">
          <ac:chgData name="Pierre Cavaroc" userId="150eff99-6aed-48f0-b13c-cabd0a4b3ac2" providerId="ADAL" clId="{E623609C-0EF4-4ECB-A655-127E285B354B}" dt="2021-03-21T23:02:37.896" v="6045" actId="27803"/>
          <ac:spMkLst>
            <pc:docMk/>
            <pc:sldMk cId="2136510916" sldId="2134803580"/>
            <ac:spMk id="273" creationId="{970117BA-7BBC-4E31-A841-C25EEF534925}"/>
          </ac:spMkLst>
        </pc:spChg>
        <pc:spChg chg="mod">
          <ac:chgData name="Pierre Cavaroc" userId="150eff99-6aed-48f0-b13c-cabd0a4b3ac2" providerId="ADAL" clId="{E623609C-0EF4-4ECB-A655-127E285B354B}" dt="2021-03-21T23:02:37.896" v="6045" actId="27803"/>
          <ac:spMkLst>
            <pc:docMk/>
            <pc:sldMk cId="2136510916" sldId="2134803580"/>
            <ac:spMk id="274" creationId="{8BAA7E5E-9C0B-499B-96CA-C8C1DEC483F5}"/>
          </ac:spMkLst>
        </pc:spChg>
        <pc:spChg chg="mod">
          <ac:chgData name="Pierre Cavaroc" userId="150eff99-6aed-48f0-b13c-cabd0a4b3ac2" providerId="ADAL" clId="{E623609C-0EF4-4ECB-A655-127E285B354B}" dt="2021-03-21T23:02:37.896" v="6045" actId="27803"/>
          <ac:spMkLst>
            <pc:docMk/>
            <pc:sldMk cId="2136510916" sldId="2134803580"/>
            <ac:spMk id="275" creationId="{4D662B71-BF21-43E8-A64B-6651A285BDAE}"/>
          </ac:spMkLst>
        </pc:spChg>
        <pc:spChg chg="mod">
          <ac:chgData name="Pierre Cavaroc" userId="150eff99-6aed-48f0-b13c-cabd0a4b3ac2" providerId="ADAL" clId="{E623609C-0EF4-4ECB-A655-127E285B354B}" dt="2021-03-21T23:02:37.896" v="6045" actId="27803"/>
          <ac:spMkLst>
            <pc:docMk/>
            <pc:sldMk cId="2136510916" sldId="2134803580"/>
            <ac:spMk id="276" creationId="{C774D757-0FD8-4F77-B0A0-2ABC58F34725}"/>
          </ac:spMkLst>
        </pc:spChg>
        <pc:spChg chg="mod">
          <ac:chgData name="Pierre Cavaroc" userId="150eff99-6aed-48f0-b13c-cabd0a4b3ac2" providerId="ADAL" clId="{E623609C-0EF4-4ECB-A655-127E285B354B}" dt="2021-03-21T23:02:37.896" v="6045" actId="27803"/>
          <ac:spMkLst>
            <pc:docMk/>
            <pc:sldMk cId="2136510916" sldId="2134803580"/>
            <ac:spMk id="277" creationId="{8FC3868D-2C1F-42BF-80EC-6B6DD2E5396E}"/>
          </ac:spMkLst>
        </pc:spChg>
        <pc:spChg chg="mod">
          <ac:chgData name="Pierre Cavaroc" userId="150eff99-6aed-48f0-b13c-cabd0a4b3ac2" providerId="ADAL" clId="{E623609C-0EF4-4ECB-A655-127E285B354B}" dt="2021-03-21T23:02:37.896" v="6045" actId="27803"/>
          <ac:spMkLst>
            <pc:docMk/>
            <pc:sldMk cId="2136510916" sldId="2134803580"/>
            <ac:spMk id="278" creationId="{3B69C2F1-9761-4987-BB08-F95093CFBD87}"/>
          </ac:spMkLst>
        </pc:spChg>
        <pc:spChg chg="mod">
          <ac:chgData name="Pierre Cavaroc" userId="150eff99-6aed-48f0-b13c-cabd0a4b3ac2" providerId="ADAL" clId="{E623609C-0EF4-4ECB-A655-127E285B354B}" dt="2021-03-21T23:02:37.896" v="6045" actId="27803"/>
          <ac:spMkLst>
            <pc:docMk/>
            <pc:sldMk cId="2136510916" sldId="2134803580"/>
            <ac:spMk id="279" creationId="{AF5D25B4-7150-42CE-A5CA-1BDCD55A8705}"/>
          </ac:spMkLst>
        </pc:spChg>
        <pc:spChg chg="mod">
          <ac:chgData name="Pierre Cavaroc" userId="150eff99-6aed-48f0-b13c-cabd0a4b3ac2" providerId="ADAL" clId="{E623609C-0EF4-4ECB-A655-127E285B354B}" dt="2021-03-21T23:02:37.896" v="6045" actId="27803"/>
          <ac:spMkLst>
            <pc:docMk/>
            <pc:sldMk cId="2136510916" sldId="2134803580"/>
            <ac:spMk id="280" creationId="{922C53CD-8F2D-4420-8FEC-2055009E96AE}"/>
          </ac:spMkLst>
        </pc:spChg>
        <pc:spChg chg="mod">
          <ac:chgData name="Pierre Cavaroc" userId="150eff99-6aed-48f0-b13c-cabd0a4b3ac2" providerId="ADAL" clId="{E623609C-0EF4-4ECB-A655-127E285B354B}" dt="2021-03-21T23:02:37.896" v="6045" actId="27803"/>
          <ac:spMkLst>
            <pc:docMk/>
            <pc:sldMk cId="2136510916" sldId="2134803580"/>
            <ac:spMk id="281" creationId="{8E5FF337-74E1-45DC-A129-F803180CC339}"/>
          </ac:spMkLst>
        </pc:spChg>
        <pc:spChg chg="mod">
          <ac:chgData name="Pierre Cavaroc" userId="150eff99-6aed-48f0-b13c-cabd0a4b3ac2" providerId="ADAL" clId="{E623609C-0EF4-4ECB-A655-127E285B354B}" dt="2021-03-21T23:02:37.896" v="6045" actId="27803"/>
          <ac:spMkLst>
            <pc:docMk/>
            <pc:sldMk cId="2136510916" sldId="2134803580"/>
            <ac:spMk id="282" creationId="{BC6DE2B4-3BEC-49A7-BDFF-99EA817F62D1}"/>
          </ac:spMkLst>
        </pc:spChg>
        <pc:spChg chg="mod">
          <ac:chgData name="Pierre Cavaroc" userId="150eff99-6aed-48f0-b13c-cabd0a4b3ac2" providerId="ADAL" clId="{E623609C-0EF4-4ECB-A655-127E285B354B}" dt="2021-03-21T23:02:37.896" v="6045" actId="27803"/>
          <ac:spMkLst>
            <pc:docMk/>
            <pc:sldMk cId="2136510916" sldId="2134803580"/>
            <ac:spMk id="283" creationId="{6372E410-EB5B-44A2-9B95-703BFFF125D0}"/>
          </ac:spMkLst>
        </pc:spChg>
        <pc:spChg chg="mod">
          <ac:chgData name="Pierre Cavaroc" userId="150eff99-6aed-48f0-b13c-cabd0a4b3ac2" providerId="ADAL" clId="{E623609C-0EF4-4ECB-A655-127E285B354B}" dt="2021-03-21T23:02:37.896" v="6045" actId="27803"/>
          <ac:spMkLst>
            <pc:docMk/>
            <pc:sldMk cId="2136510916" sldId="2134803580"/>
            <ac:spMk id="284" creationId="{0A486F70-AA7E-428C-AEBD-0E7F75B6684F}"/>
          </ac:spMkLst>
        </pc:spChg>
        <pc:spChg chg="mod">
          <ac:chgData name="Pierre Cavaroc" userId="150eff99-6aed-48f0-b13c-cabd0a4b3ac2" providerId="ADAL" clId="{E623609C-0EF4-4ECB-A655-127E285B354B}" dt="2021-03-21T23:02:37.896" v="6045" actId="27803"/>
          <ac:spMkLst>
            <pc:docMk/>
            <pc:sldMk cId="2136510916" sldId="2134803580"/>
            <ac:spMk id="285" creationId="{50A006C8-CF05-40BF-9701-7D331D08FB47}"/>
          </ac:spMkLst>
        </pc:spChg>
        <pc:spChg chg="mod">
          <ac:chgData name="Pierre Cavaroc" userId="150eff99-6aed-48f0-b13c-cabd0a4b3ac2" providerId="ADAL" clId="{E623609C-0EF4-4ECB-A655-127E285B354B}" dt="2021-03-21T23:02:37.896" v="6045" actId="27803"/>
          <ac:spMkLst>
            <pc:docMk/>
            <pc:sldMk cId="2136510916" sldId="2134803580"/>
            <ac:spMk id="286" creationId="{B9F38C6B-3EEF-4FE2-A1F4-3FDEBED11825}"/>
          </ac:spMkLst>
        </pc:spChg>
        <pc:spChg chg="mod">
          <ac:chgData name="Pierre Cavaroc" userId="150eff99-6aed-48f0-b13c-cabd0a4b3ac2" providerId="ADAL" clId="{E623609C-0EF4-4ECB-A655-127E285B354B}" dt="2021-03-21T23:02:37.896" v="6045" actId="27803"/>
          <ac:spMkLst>
            <pc:docMk/>
            <pc:sldMk cId="2136510916" sldId="2134803580"/>
            <ac:spMk id="287" creationId="{060A69C4-96E9-4F1B-9CDF-53F1E8858DB6}"/>
          </ac:spMkLst>
        </pc:spChg>
        <pc:spChg chg="mod">
          <ac:chgData name="Pierre Cavaroc" userId="150eff99-6aed-48f0-b13c-cabd0a4b3ac2" providerId="ADAL" clId="{E623609C-0EF4-4ECB-A655-127E285B354B}" dt="2021-03-21T23:02:37.896" v="6045" actId="27803"/>
          <ac:spMkLst>
            <pc:docMk/>
            <pc:sldMk cId="2136510916" sldId="2134803580"/>
            <ac:spMk id="288" creationId="{5F463F1E-6366-43C4-AAF5-9A6DEE174FD4}"/>
          </ac:spMkLst>
        </pc:spChg>
        <pc:spChg chg="mod">
          <ac:chgData name="Pierre Cavaroc" userId="150eff99-6aed-48f0-b13c-cabd0a4b3ac2" providerId="ADAL" clId="{E623609C-0EF4-4ECB-A655-127E285B354B}" dt="2021-03-21T23:02:37.896" v="6045" actId="27803"/>
          <ac:spMkLst>
            <pc:docMk/>
            <pc:sldMk cId="2136510916" sldId="2134803580"/>
            <ac:spMk id="289" creationId="{C1617353-3A9F-4D3C-8B59-E3DBC2E90605}"/>
          </ac:spMkLst>
        </pc:spChg>
        <pc:spChg chg="mod">
          <ac:chgData name="Pierre Cavaroc" userId="150eff99-6aed-48f0-b13c-cabd0a4b3ac2" providerId="ADAL" clId="{E623609C-0EF4-4ECB-A655-127E285B354B}" dt="2021-03-21T23:02:37.896" v="6045" actId="27803"/>
          <ac:spMkLst>
            <pc:docMk/>
            <pc:sldMk cId="2136510916" sldId="2134803580"/>
            <ac:spMk id="290" creationId="{9CC70BE8-301D-4353-9C83-1E669777F932}"/>
          </ac:spMkLst>
        </pc:spChg>
        <pc:spChg chg="mod">
          <ac:chgData name="Pierre Cavaroc" userId="150eff99-6aed-48f0-b13c-cabd0a4b3ac2" providerId="ADAL" clId="{E623609C-0EF4-4ECB-A655-127E285B354B}" dt="2021-03-21T23:02:37.896" v="6045" actId="27803"/>
          <ac:spMkLst>
            <pc:docMk/>
            <pc:sldMk cId="2136510916" sldId="2134803580"/>
            <ac:spMk id="291" creationId="{14C9C23E-F7F9-46B9-935F-DAE1C21C0204}"/>
          </ac:spMkLst>
        </pc:spChg>
        <pc:spChg chg="mod">
          <ac:chgData name="Pierre Cavaroc" userId="150eff99-6aed-48f0-b13c-cabd0a4b3ac2" providerId="ADAL" clId="{E623609C-0EF4-4ECB-A655-127E285B354B}" dt="2021-03-21T23:02:37.896" v="6045" actId="27803"/>
          <ac:spMkLst>
            <pc:docMk/>
            <pc:sldMk cId="2136510916" sldId="2134803580"/>
            <ac:spMk id="292" creationId="{A3ABB228-7821-4A6B-92E7-F3FFB8E61F35}"/>
          </ac:spMkLst>
        </pc:spChg>
        <pc:spChg chg="mod">
          <ac:chgData name="Pierre Cavaroc" userId="150eff99-6aed-48f0-b13c-cabd0a4b3ac2" providerId="ADAL" clId="{E623609C-0EF4-4ECB-A655-127E285B354B}" dt="2021-03-21T23:02:37.896" v="6045" actId="27803"/>
          <ac:spMkLst>
            <pc:docMk/>
            <pc:sldMk cId="2136510916" sldId="2134803580"/>
            <ac:spMk id="293" creationId="{43F4E9F7-5C73-4CE6-AF84-78D18EAFAA56}"/>
          </ac:spMkLst>
        </pc:spChg>
        <pc:spChg chg="mod">
          <ac:chgData name="Pierre Cavaroc" userId="150eff99-6aed-48f0-b13c-cabd0a4b3ac2" providerId="ADAL" clId="{E623609C-0EF4-4ECB-A655-127E285B354B}" dt="2021-03-21T23:02:37.896" v="6045" actId="27803"/>
          <ac:spMkLst>
            <pc:docMk/>
            <pc:sldMk cId="2136510916" sldId="2134803580"/>
            <ac:spMk id="294" creationId="{F0D501F6-8DB7-4271-BD81-DB38B51D2F37}"/>
          </ac:spMkLst>
        </pc:spChg>
        <pc:spChg chg="mod">
          <ac:chgData name="Pierre Cavaroc" userId="150eff99-6aed-48f0-b13c-cabd0a4b3ac2" providerId="ADAL" clId="{E623609C-0EF4-4ECB-A655-127E285B354B}" dt="2021-03-21T23:02:37.896" v="6045" actId="27803"/>
          <ac:spMkLst>
            <pc:docMk/>
            <pc:sldMk cId="2136510916" sldId="2134803580"/>
            <ac:spMk id="295" creationId="{DC6B3991-B2F2-465A-970F-8B1A89ACA4E3}"/>
          </ac:spMkLst>
        </pc:spChg>
        <pc:spChg chg="mod">
          <ac:chgData name="Pierre Cavaroc" userId="150eff99-6aed-48f0-b13c-cabd0a4b3ac2" providerId="ADAL" clId="{E623609C-0EF4-4ECB-A655-127E285B354B}" dt="2021-03-21T23:02:37.896" v="6045" actId="27803"/>
          <ac:spMkLst>
            <pc:docMk/>
            <pc:sldMk cId="2136510916" sldId="2134803580"/>
            <ac:spMk id="296" creationId="{183172F8-25FD-429F-9CF2-025A45A03AE7}"/>
          </ac:spMkLst>
        </pc:spChg>
        <pc:spChg chg="mod">
          <ac:chgData name="Pierre Cavaroc" userId="150eff99-6aed-48f0-b13c-cabd0a4b3ac2" providerId="ADAL" clId="{E623609C-0EF4-4ECB-A655-127E285B354B}" dt="2021-03-21T23:02:37.896" v="6045" actId="27803"/>
          <ac:spMkLst>
            <pc:docMk/>
            <pc:sldMk cId="2136510916" sldId="2134803580"/>
            <ac:spMk id="297" creationId="{DF252223-E292-4962-8CB3-9C781BE0B962}"/>
          </ac:spMkLst>
        </pc:spChg>
        <pc:spChg chg="mod">
          <ac:chgData name="Pierre Cavaroc" userId="150eff99-6aed-48f0-b13c-cabd0a4b3ac2" providerId="ADAL" clId="{E623609C-0EF4-4ECB-A655-127E285B354B}" dt="2021-03-21T23:02:37.896" v="6045" actId="27803"/>
          <ac:spMkLst>
            <pc:docMk/>
            <pc:sldMk cId="2136510916" sldId="2134803580"/>
            <ac:spMk id="298" creationId="{AB7134CA-1791-4B37-8D34-C9CBAC1B81E4}"/>
          </ac:spMkLst>
        </pc:spChg>
        <pc:spChg chg="mod">
          <ac:chgData name="Pierre Cavaroc" userId="150eff99-6aed-48f0-b13c-cabd0a4b3ac2" providerId="ADAL" clId="{E623609C-0EF4-4ECB-A655-127E285B354B}" dt="2021-03-21T23:02:37.896" v="6045" actId="27803"/>
          <ac:spMkLst>
            <pc:docMk/>
            <pc:sldMk cId="2136510916" sldId="2134803580"/>
            <ac:spMk id="299" creationId="{144164C6-A470-4003-B4B5-71112F67FB07}"/>
          </ac:spMkLst>
        </pc:spChg>
        <pc:spChg chg="mod">
          <ac:chgData name="Pierre Cavaroc" userId="150eff99-6aed-48f0-b13c-cabd0a4b3ac2" providerId="ADAL" clId="{E623609C-0EF4-4ECB-A655-127E285B354B}" dt="2021-03-21T23:02:37.896" v="6045" actId="27803"/>
          <ac:spMkLst>
            <pc:docMk/>
            <pc:sldMk cId="2136510916" sldId="2134803580"/>
            <ac:spMk id="300" creationId="{A25CEC40-E1AF-42D5-955E-9D88D9ADECCB}"/>
          </ac:spMkLst>
        </pc:spChg>
        <pc:spChg chg="mod">
          <ac:chgData name="Pierre Cavaroc" userId="150eff99-6aed-48f0-b13c-cabd0a4b3ac2" providerId="ADAL" clId="{E623609C-0EF4-4ECB-A655-127E285B354B}" dt="2021-03-21T23:02:37.896" v="6045" actId="27803"/>
          <ac:spMkLst>
            <pc:docMk/>
            <pc:sldMk cId="2136510916" sldId="2134803580"/>
            <ac:spMk id="301" creationId="{D3AD2BA9-BA4F-4D44-B116-06858C80088C}"/>
          </ac:spMkLst>
        </pc:spChg>
        <pc:spChg chg="mod">
          <ac:chgData name="Pierre Cavaroc" userId="150eff99-6aed-48f0-b13c-cabd0a4b3ac2" providerId="ADAL" clId="{E623609C-0EF4-4ECB-A655-127E285B354B}" dt="2021-03-21T23:02:37.896" v="6045" actId="27803"/>
          <ac:spMkLst>
            <pc:docMk/>
            <pc:sldMk cId="2136510916" sldId="2134803580"/>
            <ac:spMk id="302" creationId="{A8A814C8-6B60-4F45-BF74-4C341BFC850B}"/>
          </ac:spMkLst>
        </pc:spChg>
        <pc:spChg chg="mod">
          <ac:chgData name="Pierre Cavaroc" userId="150eff99-6aed-48f0-b13c-cabd0a4b3ac2" providerId="ADAL" clId="{E623609C-0EF4-4ECB-A655-127E285B354B}" dt="2021-03-21T23:02:37.896" v="6045" actId="27803"/>
          <ac:spMkLst>
            <pc:docMk/>
            <pc:sldMk cId="2136510916" sldId="2134803580"/>
            <ac:spMk id="303" creationId="{3A0CE692-C547-4673-B727-64D0AFA7C644}"/>
          </ac:spMkLst>
        </pc:spChg>
        <pc:spChg chg="mod">
          <ac:chgData name="Pierre Cavaroc" userId="150eff99-6aed-48f0-b13c-cabd0a4b3ac2" providerId="ADAL" clId="{E623609C-0EF4-4ECB-A655-127E285B354B}" dt="2021-03-21T23:02:37.896" v="6045" actId="27803"/>
          <ac:spMkLst>
            <pc:docMk/>
            <pc:sldMk cId="2136510916" sldId="2134803580"/>
            <ac:spMk id="304" creationId="{4492114F-A5C9-45CF-83A5-9B9BDADBC302}"/>
          </ac:spMkLst>
        </pc:spChg>
        <pc:spChg chg="mod">
          <ac:chgData name="Pierre Cavaroc" userId="150eff99-6aed-48f0-b13c-cabd0a4b3ac2" providerId="ADAL" clId="{E623609C-0EF4-4ECB-A655-127E285B354B}" dt="2021-03-21T23:02:37.896" v="6045" actId="27803"/>
          <ac:spMkLst>
            <pc:docMk/>
            <pc:sldMk cId="2136510916" sldId="2134803580"/>
            <ac:spMk id="305" creationId="{07D6BC91-ED69-4ECE-A701-4E42802E1531}"/>
          </ac:spMkLst>
        </pc:spChg>
        <pc:spChg chg="mod">
          <ac:chgData name="Pierre Cavaroc" userId="150eff99-6aed-48f0-b13c-cabd0a4b3ac2" providerId="ADAL" clId="{E623609C-0EF4-4ECB-A655-127E285B354B}" dt="2021-03-21T23:02:37.896" v="6045" actId="27803"/>
          <ac:spMkLst>
            <pc:docMk/>
            <pc:sldMk cId="2136510916" sldId="2134803580"/>
            <ac:spMk id="306" creationId="{11714E49-FDBE-48D0-BBE6-ED91B80A3157}"/>
          </ac:spMkLst>
        </pc:spChg>
        <pc:spChg chg="mod">
          <ac:chgData name="Pierre Cavaroc" userId="150eff99-6aed-48f0-b13c-cabd0a4b3ac2" providerId="ADAL" clId="{E623609C-0EF4-4ECB-A655-127E285B354B}" dt="2021-03-21T23:02:37.896" v="6045" actId="27803"/>
          <ac:spMkLst>
            <pc:docMk/>
            <pc:sldMk cId="2136510916" sldId="2134803580"/>
            <ac:spMk id="307" creationId="{D603F593-F990-49B8-A0A5-719E2835B827}"/>
          </ac:spMkLst>
        </pc:spChg>
        <pc:spChg chg="mod">
          <ac:chgData name="Pierre Cavaroc" userId="150eff99-6aed-48f0-b13c-cabd0a4b3ac2" providerId="ADAL" clId="{E623609C-0EF4-4ECB-A655-127E285B354B}" dt="2021-03-21T23:02:37.896" v="6045" actId="27803"/>
          <ac:spMkLst>
            <pc:docMk/>
            <pc:sldMk cId="2136510916" sldId="2134803580"/>
            <ac:spMk id="308" creationId="{DE570A43-073F-4D83-B60B-1BA17F8105B9}"/>
          </ac:spMkLst>
        </pc:spChg>
        <pc:spChg chg="mod">
          <ac:chgData name="Pierre Cavaroc" userId="150eff99-6aed-48f0-b13c-cabd0a4b3ac2" providerId="ADAL" clId="{E623609C-0EF4-4ECB-A655-127E285B354B}" dt="2021-03-21T23:02:37.896" v="6045" actId="27803"/>
          <ac:spMkLst>
            <pc:docMk/>
            <pc:sldMk cId="2136510916" sldId="2134803580"/>
            <ac:spMk id="309" creationId="{CFF6D425-59E7-4DFB-B46D-27E38350817C}"/>
          </ac:spMkLst>
        </pc:spChg>
        <pc:spChg chg="mod">
          <ac:chgData name="Pierre Cavaroc" userId="150eff99-6aed-48f0-b13c-cabd0a4b3ac2" providerId="ADAL" clId="{E623609C-0EF4-4ECB-A655-127E285B354B}" dt="2021-03-21T23:02:37.896" v="6045" actId="27803"/>
          <ac:spMkLst>
            <pc:docMk/>
            <pc:sldMk cId="2136510916" sldId="2134803580"/>
            <ac:spMk id="310" creationId="{4ADA7FD1-E8F6-4EFD-B348-AB2BF9E782A9}"/>
          </ac:spMkLst>
        </pc:spChg>
        <pc:spChg chg="mod">
          <ac:chgData name="Pierre Cavaroc" userId="150eff99-6aed-48f0-b13c-cabd0a4b3ac2" providerId="ADAL" clId="{E623609C-0EF4-4ECB-A655-127E285B354B}" dt="2021-03-21T23:02:37.896" v="6045" actId="27803"/>
          <ac:spMkLst>
            <pc:docMk/>
            <pc:sldMk cId="2136510916" sldId="2134803580"/>
            <ac:spMk id="311" creationId="{6410E0B6-234A-487D-9CA8-E8C7204E5C08}"/>
          </ac:spMkLst>
        </pc:spChg>
        <pc:spChg chg="mod">
          <ac:chgData name="Pierre Cavaroc" userId="150eff99-6aed-48f0-b13c-cabd0a4b3ac2" providerId="ADAL" clId="{E623609C-0EF4-4ECB-A655-127E285B354B}" dt="2021-03-21T23:02:37.896" v="6045" actId="27803"/>
          <ac:spMkLst>
            <pc:docMk/>
            <pc:sldMk cId="2136510916" sldId="2134803580"/>
            <ac:spMk id="312" creationId="{A4A264AA-AC12-4B45-B87F-0C3DA434BF67}"/>
          </ac:spMkLst>
        </pc:spChg>
        <pc:spChg chg="mod">
          <ac:chgData name="Pierre Cavaroc" userId="150eff99-6aed-48f0-b13c-cabd0a4b3ac2" providerId="ADAL" clId="{E623609C-0EF4-4ECB-A655-127E285B354B}" dt="2021-03-21T23:02:37.896" v="6045" actId="27803"/>
          <ac:spMkLst>
            <pc:docMk/>
            <pc:sldMk cId="2136510916" sldId="2134803580"/>
            <ac:spMk id="313" creationId="{EE5FF1D1-AC44-472E-9D4D-65EBA6AE5FEE}"/>
          </ac:spMkLst>
        </pc:spChg>
        <pc:spChg chg="mod">
          <ac:chgData name="Pierre Cavaroc" userId="150eff99-6aed-48f0-b13c-cabd0a4b3ac2" providerId="ADAL" clId="{E623609C-0EF4-4ECB-A655-127E285B354B}" dt="2021-03-21T23:02:37.896" v="6045" actId="27803"/>
          <ac:spMkLst>
            <pc:docMk/>
            <pc:sldMk cId="2136510916" sldId="2134803580"/>
            <ac:spMk id="314" creationId="{9A98266B-2C60-4E53-B84D-7C82FFBB607E}"/>
          </ac:spMkLst>
        </pc:spChg>
        <pc:spChg chg="mod">
          <ac:chgData name="Pierre Cavaroc" userId="150eff99-6aed-48f0-b13c-cabd0a4b3ac2" providerId="ADAL" clId="{E623609C-0EF4-4ECB-A655-127E285B354B}" dt="2021-03-21T23:02:37.896" v="6045" actId="27803"/>
          <ac:spMkLst>
            <pc:docMk/>
            <pc:sldMk cId="2136510916" sldId="2134803580"/>
            <ac:spMk id="315" creationId="{A223E70F-98D1-4C47-B9A1-111849620385}"/>
          </ac:spMkLst>
        </pc:spChg>
        <pc:spChg chg="mod">
          <ac:chgData name="Pierre Cavaroc" userId="150eff99-6aed-48f0-b13c-cabd0a4b3ac2" providerId="ADAL" clId="{E623609C-0EF4-4ECB-A655-127E285B354B}" dt="2021-03-21T23:02:37.896" v="6045" actId="27803"/>
          <ac:spMkLst>
            <pc:docMk/>
            <pc:sldMk cId="2136510916" sldId="2134803580"/>
            <ac:spMk id="316" creationId="{2C5DF1DB-E552-4C69-B570-33E27B51317C}"/>
          </ac:spMkLst>
        </pc:spChg>
        <pc:spChg chg="mod">
          <ac:chgData name="Pierre Cavaroc" userId="150eff99-6aed-48f0-b13c-cabd0a4b3ac2" providerId="ADAL" clId="{E623609C-0EF4-4ECB-A655-127E285B354B}" dt="2021-03-21T23:02:37.896" v="6045" actId="27803"/>
          <ac:spMkLst>
            <pc:docMk/>
            <pc:sldMk cId="2136510916" sldId="2134803580"/>
            <ac:spMk id="317" creationId="{736DE888-0EC6-41B8-AC13-C347A553E284}"/>
          </ac:spMkLst>
        </pc:spChg>
        <pc:spChg chg="mod">
          <ac:chgData name="Pierre Cavaroc" userId="150eff99-6aed-48f0-b13c-cabd0a4b3ac2" providerId="ADAL" clId="{E623609C-0EF4-4ECB-A655-127E285B354B}" dt="2021-03-21T23:02:37.896" v="6045" actId="27803"/>
          <ac:spMkLst>
            <pc:docMk/>
            <pc:sldMk cId="2136510916" sldId="2134803580"/>
            <ac:spMk id="318" creationId="{058852C3-4B8B-4165-AC8C-497A6BE9F3B6}"/>
          </ac:spMkLst>
        </pc:spChg>
        <pc:spChg chg="mod">
          <ac:chgData name="Pierre Cavaroc" userId="150eff99-6aed-48f0-b13c-cabd0a4b3ac2" providerId="ADAL" clId="{E623609C-0EF4-4ECB-A655-127E285B354B}" dt="2021-03-21T23:02:37.896" v="6045" actId="27803"/>
          <ac:spMkLst>
            <pc:docMk/>
            <pc:sldMk cId="2136510916" sldId="2134803580"/>
            <ac:spMk id="319" creationId="{2CA0592F-6C96-4C97-BFA0-9BB274F5509D}"/>
          </ac:spMkLst>
        </pc:spChg>
        <pc:spChg chg="mod">
          <ac:chgData name="Pierre Cavaroc" userId="150eff99-6aed-48f0-b13c-cabd0a4b3ac2" providerId="ADAL" clId="{E623609C-0EF4-4ECB-A655-127E285B354B}" dt="2021-03-21T23:02:37.896" v="6045" actId="27803"/>
          <ac:spMkLst>
            <pc:docMk/>
            <pc:sldMk cId="2136510916" sldId="2134803580"/>
            <ac:spMk id="320" creationId="{86B4BE76-CD6D-429C-8E29-A2A919BD523E}"/>
          </ac:spMkLst>
        </pc:spChg>
        <pc:spChg chg="mod">
          <ac:chgData name="Pierre Cavaroc" userId="150eff99-6aed-48f0-b13c-cabd0a4b3ac2" providerId="ADAL" clId="{E623609C-0EF4-4ECB-A655-127E285B354B}" dt="2021-03-21T23:02:37.896" v="6045" actId="27803"/>
          <ac:spMkLst>
            <pc:docMk/>
            <pc:sldMk cId="2136510916" sldId="2134803580"/>
            <ac:spMk id="321" creationId="{30451CE7-E21E-43D8-8455-6C60E3570D29}"/>
          </ac:spMkLst>
        </pc:spChg>
        <pc:spChg chg="mod">
          <ac:chgData name="Pierre Cavaroc" userId="150eff99-6aed-48f0-b13c-cabd0a4b3ac2" providerId="ADAL" clId="{E623609C-0EF4-4ECB-A655-127E285B354B}" dt="2021-03-21T23:02:37.896" v="6045" actId="27803"/>
          <ac:spMkLst>
            <pc:docMk/>
            <pc:sldMk cId="2136510916" sldId="2134803580"/>
            <ac:spMk id="322" creationId="{92129CBE-EDA0-4FE8-91DC-881D33AFF2D1}"/>
          </ac:spMkLst>
        </pc:spChg>
        <pc:spChg chg="mod">
          <ac:chgData name="Pierre Cavaroc" userId="150eff99-6aed-48f0-b13c-cabd0a4b3ac2" providerId="ADAL" clId="{E623609C-0EF4-4ECB-A655-127E285B354B}" dt="2021-03-21T23:02:37.896" v="6045" actId="27803"/>
          <ac:spMkLst>
            <pc:docMk/>
            <pc:sldMk cId="2136510916" sldId="2134803580"/>
            <ac:spMk id="323" creationId="{B01EA388-1E0A-4E5B-97E8-B5F91FBF036C}"/>
          </ac:spMkLst>
        </pc:spChg>
        <pc:spChg chg="mod">
          <ac:chgData name="Pierre Cavaroc" userId="150eff99-6aed-48f0-b13c-cabd0a4b3ac2" providerId="ADAL" clId="{E623609C-0EF4-4ECB-A655-127E285B354B}" dt="2021-03-21T23:02:37.896" v="6045" actId="27803"/>
          <ac:spMkLst>
            <pc:docMk/>
            <pc:sldMk cId="2136510916" sldId="2134803580"/>
            <ac:spMk id="324" creationId="{3338E736-D3CA-404F-A285-6CFF2A7EE9AC}"/>
          </ac:spMkLst>
        </pc:spChg>
        <pc:spChg chg="mod">
          <ac:chgData name="Pierre Cavaroc" userId="150eff99-6aed-48f0-b13c-cabd0a4b3ac2" providerId="ADAL" clId="{E623609C-0EF4-4ECB-A655-127E285B354B}" dt="2021-03-21T23:02:37.896" v="6045" actId="27803"/>
          <ac:spMkLst>
            <pc:docMk/>
            <pc:sldMk cId="2136510916" sldId="2134803580"/>
            <ac:spMk id="325" creationId="{69FCBBA5-60CF-4CC5-962C-1717E939A19B}"/>
          </ac:spMkLst>
        </pc:spChg>
        <pc:spChg chg="mod">
          <ac:chgData name="Pierre Cavaroc" userId="150eff99-6aed-48f0-b13c-cabd0a4b3ac2" providerId="ADAL" clId="{E623609C-0EF4-4ECB-A655-127E285B354B}" dt="2021-03-21T23:02:37.896" v="6045" actId="27803"/>
          <ac:spMkLst>
            <pc:docMk/>
            <pc:sldMk cId="2136510916" sldId="2134803580"/>
            <ac:spMk id="326" creationId="{7B868FE6-61DD-45B8-A3D3-687EFC8364B4}"/>
          </ac:spMkLst>
        </pc:spChg>
        <pc:spChg chg="mod">
          <ac:chgData name="Pierre Cavaroc" userId="150eff99-6aed-48f0-b13c-cabd0a4b3ac2" providerId="ADAL" clId="{E623609C-0EF4-4ECB-A655-127E285B354B}" dt="2021-03-21T23:02:37.896" v="6045" actId="27803"/>
          <ac:spMkLst>
            <pc:docMk/>
            <pc:sldMk cId="2136510916" sldId="2134803580"/>
            <ac:spMk id="327" creationId="{D4F649D9-F529-4A1B-AA31-41296526D53F}"/>
          </ac:spMkLst>
        </pc:spChg>
        <pc:spChg chg="mod">
          <ac:chgData name="Pierre Cavaroc" userId="150eff99-6aed-48f0-b13c-cabd0a4b3ac2" providerId="ADAL" clId="{E623609C-0EF4-4ECB-A655-127E285B354B}" dt="2021-03-21T23:02:37.896" v="6045" actId="27803"/>
          <ac:spMkLst>
            <pc:docMk/>
            <pc:sldMk cId="2136510916" sldId="2134803580"/>
            <ac:spMk id="328" creationId="{9992ED79-117B-4493-B162-BC317ACC2618}"/>
          </ac:spMkLst>
        </pc:spChg>
        <pc:spChg chg="mod">
          <ac:chgData name="Pierre Cavaroc" userId="150eff99-6aed-48f0-b13c-cabd0a4b3ac2" providerId="ADAL" clId="{E623609C-0EF4-4ECB-A655-127E285B354B}" dt="2021-03-21T23:02:37.896" v="6045" actId="27803"/>
          <ac:spMkLst>
            <pc:docMk/>
            <pc:sldMk cId="2136510916" sldId="2134803580"/>
            <ac:spMk id="329" creationId="{D592789D-DDBA-48E9-A86C-47311E4B2BF8}"/>
          </ac:spMkLst>
        </pc:spChg>
        <pc:spChg chg="mod">
          <ac:chgData name="Pierre Cavaroc" userId="150eff99-6aed-48f0-b13c-cabd0a4b3ac2" providerId="ADAL" clId="{E623609C-0EF4-4ECB-A655-127E285B354B}" dt="2021-03-21T23:02:37.896" v="6045" actId="27803"/>
          <ac:spMkLst>
            <pc:docMk/>
            <pc:sldMk cId="2136510916" sldId="2134803580"/>
            <ac:spMk id="330" creationId="{60B1BCC2-0B92-4DB7-873D-0B5CEF8240F6}"/>
          </ac:spMkLst>
        </pc:spChg>
        <pc:spChg chg="mod">
          <ac:chgData name="Pierre Cavaroc" userId="150eff99-6aed-48f0-b13c-cabd0a4b3ac2" providerId="ADAL" clId="{E623609C-0EF4-4ECB-A655-127E285B354B}" dt="2021-03-21T23:02:37.896" v="6045" actId="27803"/>
          <ac:spMkLst>
            <pc:docMk/>
            <pc:sldMk cId="2136510916" sldId="2134803580"/>
            <ac:spMk id="331" creationId="{42BAB45F-5AE0-445D-BE2F-7B25A49E622B}"/>
          </ac:spMkLst>
        </pc:spChg>
        <pc:spChg chg="mod">
          <ac:chgData name="Pierre Cavaroc" userId="150eff99-6aed-48f0-b13c-cabd0a4b3ac2" providerId="ADAL" clId="{E623609C-0EF4-4ECB-A655-127E285B354B}" dt="2021-03-21T23:02:37.896" v="6045" actId="27803"/>
          <ac:spMkLst>
            <pc:docMk/>
            <pc:sldMk cId="2136510916" sldId="2134803580"/>
            <ac:spMk id="332" creationId="{DDDF4F64-00E2-474C-A0D5-E6E51B726934}"/>
          </ac:spMkLst>
        </pc:spChg>
        <pc:spChg chg="mod">
          <ac:chgData name="Pierre Cavaroc" userId="150eff99-6aed-48f0-b13c-cabd0a4b3ac2" providerId="ADAL" clId="{E623609C-0EF4-4ECB-A655-127E285B354B}" dt="2021-03-21T23:02:37.896" v="6045" actId="27803"/>
          <ac:spMkLst>
            <pc:docMk/>
            <pc:sldMk cId="2136510916" sldId="2134803580"/>
            <ac:spMk id="333" creationId="{4865391F-8FBB-42D8-AD78-12E90FA7F2FE}"/>
          </ac:spMkLst>
        </pc:spChg>
        <pc:spChg chg="mod">
          <ac:chgData name="Pierre Cavaroc" userId="150eff99-6aed-48f0-b13c-cabd0a4b3ac2" providerId="ADAL" clId="{E623609C-0EF4-4ECB-A655-127E285B354B}" dt="2021-03-21T23:02:37.896" v="6045" actId="27803"/>
          <ac:spMkLst>
            <pc:docMk/>
            <pc:sldMk cId="2136510916" sldId="2134803580"/>
            <ac:spMk id="334" creationId="{9B2228C5-DF2A-4022-808A-9F3086AA34A7}"/>
          </ac:spMkLst>
        </pc:spChg>
        <pc:spChg chg="mod">
          <ac:chgData name="Pierre Cavaroc" userId="150eff99-6aed-48f0-b13c-cabd0a4b3ac2" providerId="ADAL" clId="{E623609C-0EF4-4ECB-A655-127E285B354B}" dt="2021-03-21T23:02:37.896" v="6045" actId="27803"/>
          <ac:spMkLst>
            <pc:docMk/>
            <pc:sldMk cId="2136510916" sldId="2134803580"/>
            <ac:spMk id="335" creationId="{7F5608C5-A48A-4356-8E90-D746BE2A8DD4}"/>
          </ac:spMkLst>
        </pc:spChg>
        <pc:spChg chg="mod">
          <ac:chgData name="Pierre Cavaroc" userId="150eff99-6aed-48f0-b13c-cabd0a4b3ac2" providerId="ADAL" clId="{E623609C-0EF4-4ECB-A655-127E285B354B}" dt="2021-03-21T23:02:37.896" v="6045" actId="27803"/>
          <ac:spMkLst>
            <pc:docMk/>
            <pc:sldMk cId="2136510916" sldId="2134803580"/>
            <ac:spMk id="336" creationId="{9FC2EF77-74FD-4E79-8288-06828CAB65DE}"/>
          </ac:spMkLst>
        </pc:spChg>
        <pc:spChg chg="mod">
          <ac:chgData name="Pierre Cavaroc" userId="150eff99-6aed-48f0-b13c-cabd0a4b3ac2" providerId="ADAL" clId="{E623609C-0EF4-4ECB-A655-127E285B354B}" dt="2021-03-21T23:02:37.896" v="6045" actId="27803"/>
          <ac:spMkLst>
            <pc:docMk/>
            <pc:sldMk cId="2136510916" sldId="2134803580"/>
            <ac:spMk id="337" creationId="{07307623-B33F-4EB2-A1D9-693A6A95B2A9}"/>
          </ac:spMkLst>
        </pc:spChg>
        <pc:spChg chg="mod">
          <ac:chgData name="Pierre Cavaroc" userId="150eff99-6aed-48f0-b13c-cabd0a4b3ac2" providerId="ADAL" clId="{E623609C-0EF4-4ECB-A655-127E285B354B}" dt="2021-03-21T23:02:37.896" v="6045" actId="27803"/>
          <ac:spMkLst>
            <pc:docMk/>
            <pc:sldMk cId="2136510916" sldId="2134803580"/>
            <ac:spMk id="338" creationId="{715C7682-E269-44CD-997C-E87975B35E03}"/>
          </ac:spMkLst>
        </pc:spChg>
        <pc:spChg chg="mod">
          <ac:chgData name="Pierre Cavaroc" userId="150eff99-6aed-48f0-b13c-cabd0a4b3ac2" providerId="ADAL" clId="{E623609C-0EF4-4ECB-A655-127E285B354B}" dt="2021-03-21T23:02:37.896" v="6045" actId="27803"/>
          <ac:spMkLst>
            <pc:docMk/>
            <pc:sldMk cId="2136510916" sldId="2134803580"/>
            <ac:spMk id="339" creationId="{1376E717-6C2C-4F16-A0FE-4416E3538DBB}"/>
          </ac:spMkLst>
        </pc:spChg>
        <pc:spChg chg="mod">
          <ac:chgData name="Pierre Cavaroc" userId="150eff99-6aed-48f0-b13c-cabd0a4b3ac2" providerId="ADAL" clId="{E623609C-0EF4-4ECB-A655-127E285B354B}" dt="2021-03-21T23:02:37.896" v="6045" actId="27803"/>
          <ac:spMkLst>
            <pc:docMk/>
            <pc:sldMk cId="2136510916" sldId="2134803580"/>
            <ac:spMk id="340" creationId="{BF98A600-7E8A-4461-AA06-5E4C520510CB}"/>
          </ac:spMkLst>
        </pc:spChg>
        <pc:spChg chg="mod">
          <ac:chgData name="Pierre Cavaroc" userId="150eff99-6aed-48f0-b13c-cabd0a4b3ac2" providerId="ADAL" clId="{E623609C-0EF4-4ECB-A655-127E285B354B}" dt="2021-03-21T23:02:37.896" v="6045" actId="27803"/>
          <ac:spMkLst>
            <pc:docMk/>
            <pc:sldMk cId="2136510916" sldId="2134803580"/>
            <ac:spMk id="341" creationId="{71C70DC5-D34A-4AFC-AA89-4DB6AAE92B50}"/>
          </ac:spMkLst>
        </pc:spChg>
        <pc:spChg chg="mod">
          <ac:chgData name="Pierre Cavaroc" userId="150eff99-6aed-48f0-b13c-cabd0a4b3ac2" providerId="ADAL" clId="{E623609C-0EF4-4ECB-A655-127E285B354B}" dt="2021-03-21T23:02:37.896" v="6045" actId="27803"/>
          <ac:spMkLst>
            <pc:docMk/>
            <pc:sldMk cId="2136510916" sldId="2134803580"/>
            <ac:spMk id="342" creationId="{BB6982A5-63AA-40BC-AAA4-0717BA73A680}"/>
          </ac:spMkLst>
        </pc:spChg>
        <pc:spChg chg="mod">
          <ac:chgData name="Pierre Cavaroc" userId="150eff99-6aed-48f0-b13c-cabd0a4b3ac2" providerId="ADAL" clId="{E623609C-0EF4-4ECB-A655-127E285B354B}" dt="2021-03-21T23:02:37.896" v="6045" actId="27803"/>
          <ac:spMkLst>
            <pc:docMk/>
            <pc:sldMk cId="2136510916" sldId="2134803580"/>
            <ac:spMk id="343" creationId="{F96AAFF0-9DC9-4A9A-AC53-5443EE6F0233}"/>
          </ac:spMkLst>
        </pc:spChg>
        <pc:spChg chg="mod">
          <ac:chgData name="Pierre Cavaroc" userId="150eff99-6aed-48f0-b13c-cabd0a4b3ac2" providerId="ADAL" clId="{E623609C-0EF4-4ECB-A655-127E285B354B}" dt="2021-03-21T23:02:37.896" v="6045" actId="27803"/>
          <ac:spMkLst>
            <pc:docMk/>
            <pc:sldMk cId="2136510916" sldId="2134803580"/>
            <ac:spMk id="344" creationId="{CC45E4A2-ADE0-4283-8A9D-C973243F3B7A}"/>
          </ac:spMkLst>
        </pc:spChg>
        <pc:spChg chg="mod">
          <ac:chgData name="Pierre Cavaroc" userId="150eff99-6aed-48f0-b13c-cabd0a4b3ac2" providerId="ADAL" clId="{E623609C-0EF4-4ECB-A655-127E285B354B}" dt="2021-03-21T23:02:37.896" v="6045" actId="27803"/>
          <ac:spMkLst>
            <pc:docMk/>
            <pc:sldMk cId="2136510916" sldId="2134803580"/>
            <ac:spMk id="345" creationId="{BC1F30FF-E1D6-4E33-B315-38952E5CFB63}"/>
          </ac:spMkLst>
        </pc:spChg>
        <pc:spChg chg="mod">
          <ac:chgData name="Pierre Cavaroc" userId="150eff99-6aed-48f0-b13c-cabd0a4b3ac2" providerId="ADAL" clId="{E623609C-0EF4-4ECB-A655-127E285B354B}" dt="2021-03-21T23:02:37.896" v="6045" actId="27803"/>
          <ac:spMkLst>
            <pc:docMk/>
            <pc:sldMk cId="2136510916" sldId="2134803580"/>
            <ac:spMk id="346" creationId="{B62C49DF-DEEB-4946-8462-1B5CCD1D8DF2}"/>
          </ac:spMkLst>
        </pc:spChg>
        <pc:spChg chg="mod">
          <ac:chgData name="Pierre Cavaroc" userId="150eff99-6aed-48f0-b13c-cabd0a4b3ac2" providerId="ADAL" clId="{E623609C-0EF4-4ECB-A655-127E285B354B}" dt="2021-03-21T23:02:37.896" v="6045" actId="27803"/>
          <ac:spMkLst>
            <pc:docMk/>
            <pc:sldMk cId="2136510916" sldId="2134803580"/>
            <ac:spMk id="347" creationId="{A9B03645-8B9E-4369-8AE3-53976482D604}"/>
          </ac:spMkLst>
        </pc:spChg>
        <pc:spChg chg="mod">
          <ac:chgData name="Pierre Cavaroc" userId="150eff99-6aed-48f0-b13c-cabd0a4b3ac2" providerId="ADAL" clId="{E623609C-0EF4-4ECB-A655-127E285B354B}" dt="2021-03-21T23:02:37.896" v="6045" actId="27803"/>
          <ac:spMkLst>
            <pc:docMk/>
            <pc:sldMk cId="2136510916" sldId="2134803580"/>
            <ac:spMk id="348" creationId="{EEFF23E4-825B-4E3A-B7BD-2551EF0AEA31}"/>
          </ac:spMkLst>
        </pc:spChg>
        <pc:spChg chg="mod">
          <ac:chgData name="Pierre Cavaroc" userId="150eff99-6aed-48f0-b13c-cabd0a4b3ac2" providerId="ADAL" clId="{E623609C-0EF4-4ECB-A655-127E285B354B}" dt="2021-03-21T23:02:37.896" v="6045" actId="27803"/>
          <ac:spMkLst>
            <pc:docMk/>
            <pc:sldMk cId="2136510916" sldId="2134803580"/>
            <ac:spMk id="349" creationId="{33FB439C-A0BD-49B6-8181-3CACDCDD7F41}"/>
          </ac:spMkLst>
        </pc:spChg>
        <pc:spChg chg="mod">
          <ac:chgData name="Pierre Cavaroc" userId="150eff99-6aed-48f0-b13c-cabd0a4b3ac2" providerId="ADAL" clId="{E623609C-0EF4-4ECB-A655-127E285B354B}" dt="2021-03-21T23:02:37.896" v="6045" actId="27803"/>
          <ac:spMkLst>
            <pc:docMk/>
            <pc:sldMk cId="2136510916" sldId="2134803580"/>
            <ac:spMk id="350" creationId="{15F6A0FB-ACDB-4731-BAC7-6AF7FE71C3B1}"/>
          </ac:spMkLst>
        </pc:spChg>
        <pc:spChg chg="mod">
          <ac:chgData name="Pierre Cavaroc" userId="150eff99-6aed-48f0-b13c-cabd0a4b3ac2" providerId="ADAL" clId="{E623609C-0EF4-4ECB-A655-127E285B354B}" dt="2021-03-21T23:02:37.896" v="6045" actId="27803"/>
          <ac:spMkLst>
            <pc:docMk/>
            <pc:sldMk cId="2136510916" sldId="2134803580"/>
            <ac:spMk id="351" creationId="{CF5A4FF4-F08F-4899-B46A-3B4751B0B93D}"/>
          </ac:spMkLst>
        </pc:spChg>
        <pc:spChg chg="mod">
          <ac:chgData name="Pierre Cavaroc" userId="150eff99-6aed-48f0-b13c-cabd0a4b3ac2" providerId="ADAL" clId="{E623609C-0EF4-4ECB-A655-127E285B354B}" dt="2021-03-21T23:02:37.896" v="6045" actId="27803"/>
          <ac:spMkLst>
            <pc:docMk/>
            <pc:sldMk cId="2136510916" sldId="2134803580"/>
            <ac:spMk id="352" creationId="{F87646C9-E844-4AF3-8558-C0CD948B457F}"/>
          </ac:spMkLst>
        </pc:spChg>
        <pc:spChg chg="mod">
          <ac:chgData name="Pierre Cavaroc" userId="150eff99-6aed-48f0-b13c-cabd0a4b3ac2" providerId="ADAL" clId="{E623609C-0EF4-4ECB-A655-127E285B354B}" dt="2021-03-21T23:02:37.896" v="6045" actId="27803"/>
          <ac:spMkLst>
            <pc:docMk/>
            <pc:sldMk cId="2136510916" sldId="2134803580"/>
            <ac:spMk id="353" creationId="{E83EB80A-E391-4D62-947B-06FBA3421D27}"/>
          </ac:spMkLst>
        </pc:spChg>
        <pc:spChg chg="mod">
          <ac:chgData name="Pierre Cavaroc" userId="150eff99-6aed-48f0-b13c-cabd0a4b3ac2" providerId="ADAL" clId="{E623609C-0EF4-4ECB-A655-127E285B354B}" dt="2021-03-21T23:02:37.896" v="6045" actId="27803"/>
          <ac:spMkLst>
            <pc:docMk/>
            <pc:sldMk cId="2136510916" sldId="2134803580"/>
            <ac:spMk id="354" creationId="{7CDC11A0-4ACC-473F-AD87-DB0995A76CD4}"/>
          </ac:spMkLst>
        </pc:spChg>
        <pc:spChg chg="mod">
          <ac:chgData name="Pierre Cavaroc" userId="150eff99-6aed-48f0-b13c-cabd0a4b3ac2" providerId="ADAL" clId="{E623609C-0EF4-4ECB-A655-127E285B354B}" dt="2021-03-21T23:02:37.896" v="6045" actId="27803"/>
          <ac:spMkLst>
            <pc:docMk/>
            <pc:sldMk cId="2136510916" sldId="2134803580"/>
            <ac:spMk id="355" creationId="{31B1B72D-015C-4940-B0E1-1D950C8D2E91}"/>
          </ac:spMkLst>
        </pc:spChg>
        <pc:spChg chg="mod">
          <ac:chgData name="Pierre Cavaroc" userId="150eff99-6aed-48f0-b13c-cabd0a4b3ac2" providerId="ADAL" clId="{E623609C-0EF4-4ECB-A655-127E285B354B}" dt="2021-03-21T23:02:37.896" v="6045" actId="27803"/>
          <ac:spMkLst>
            <pc:docMk/>
            <pc:sldMk cId="2136510916" sldId="2134803580"/>
            <ac:spMk id="356" creationId="{2D2F05D1-3562-4D2C-9C51-C1C0D898BA31}"/>
          </ac:spMkLst>
        </pc:spChg>
        <pc:spChg chg="mod">
          <ac:chgData name="Pierre Cavaroc" userId="150eff99-6aed-48f0-b13c-cabd0a4b3ac2" providerId="ADAL" clId="{E623609C-0EF4-4ECB-A655-127E285B354B}" dt="2021-03-21T23:02:37.896" v="6045" actId="27803"/>
          <ac:spMkLst>
            <pc:docMk/>
            <pc:sldMk cId="2136510916" sldId="2134803580"/>
            <ac:spMk id="357" creationId="{53A56CB8-1E3C-4E5F-9A61-9639351A9809}"/>
          </ac:spMkLst>
        </pc:spChg>
        <pc:spChg chg="mod">
          <ac:chgData name="Pierre Cavaroc" userId="150eff99-6aed-48f0-b13c-cabd0a4b3ac2" providerId="ADAL" clId="{E623609C-0EF4-4ECB-A655-127E285B354B}" dt="2021-03-21T23:02:37.896" v="6045" actId="27803"/>
          <ac:spMkLst>
            <pc:docMk/>
            <pc:sldMk cId="2136510916" sldId="2134803580"/>
            <ac:spMk id="358" creationId="{734DD11B-9B85-45E6-8CF6-4824C731C6B5}"/>
          </ac:spMkLst>
        </pc:spChg>
        <pc:spChg chg="mod">
          <ac:chgData name="Pierre Cavaroc" userId="150eff99-6aed-48f0-b13c-cabd0a4b3ac2" providerId="ADAL" clId="{E623609C-0EF4-4ECB-A655-127E285B354B}" dt="2021-03-21T23:02:37.896" v="6045" actId="27803"/>
          <ac:spMkLst>
            <pc:docMk/>
            <pc:sldMk cId="2136510916" sldId="2134803580"/>
            <ac:spMk id="359" creationId="{4F650574-B87D-4F5A-AEC6-456D3E520B05}"/>
          </ac:spMkLst>
        </pc:spChg>
        <pc:spChg chg="mod">
          <ac:chgData name="Pierre Cavaroc" userId="150eff99-6aed-48f0-b13c-cabd0a4b3ac2" providerId="ADAL" clId="{E623609C-0EF4-4ECB-A655-127E285B354B}" dt="2021-03-21T23:02:37.896" v="6045" actId="27803"/>
          <ac:spMkLst>
            <pc:docMk/>
            <pc:sldMk cId="2136510916" sldId="2134803580"/>
            <ac:spMk id="360" creationId="{64DD253B-635F-487A-B0AC-4AC2F9380F6E}"/>
          </ac:spMkLst>
        </pc:spChg>
        <pc:spChg chg="mod">
          <ac:chgData name="Pierre Cavaroc" userId="150eff99-6aed-48f0-b13c-cabd0a4b3ac2" providerId="ADAL" clId="{E623609C-0EF4-4ECB-A655-127E285B354B}" dt="2021-03-21T23:02:37.896" v="6045" actId="27803"/>
          <ac:spMkLst>
            <pc:docMk/>
            <pc:sldMk cId="2136510916" sldId="2134803580"/>
            <ac:spMk id="361" creationId="{B444726A-70D0-410B-BFFC-4F720BD4E654}"/>
          </ac:spMkLst>
        </pc:spChg>
        <pc:spChg chg="mod">
          <ac:chgData name="Pierre Cavaroc" userId="150eff99-6aed-48f0-b13c-cabd0a4b3ac2" providerId="ADAL" clId="{E623609C-0EF4-4ECB-A655-127E285B354B}" dt="2021-03-21T23:02:37.896" v="6045" actId="27803"/>
          <ac:spMkLst>
            <pc:docMk/>
            <pc:sldMk cId="2136510916" sldId="2134803580"/>
            <ac:spMk id="362" creationId="{E0C8DBAF-CFB3-4760-BBB2-C3C2D071AD6B}"/>
          </ac:spMkLst>
        </pc:spChg>
        <pc:spChg chg="mod">
          <ac:chgData name="Pierre Cavaroc" userId="150eff99-6aed-48f0-b13c-cabd0a4b3ac2" providerId="ADAL" clId="{E623609C-0EF4-4ECB-A655-127E285B354B}" dt="2021-03-21T23:02:37.896" v="6045" actId="27803"/>
          <ac:spMkLst>
            <pc:docMk/>
            <pc:sldMk cId="2136510916" sldId="2134803580"/>
            <ac:spMk id="363" creationId="{84FA0764-8676-4C91-B2D1-0D3285E05591}"/>
          </ac:spMkLst>
        </pc:spChg>
        <pc:spChg chg="mod">
          <ac:chgData name="Pierre Cavaroc" userId="150eff99-6aed-48f0-b13c-cabd0a4b3ac2" providerId="ADAL" clId="{E623609C-0EF4-4ECB-A655-127E285B354B}" dt="2021-03-21T23:02:37.896" v="6045" actId="27803"/>
          <ac:spMkLst>
            <pc:docMk/>
            <pc:sldMk cId="2136510916" sldId="2134803580"/>
            <ac:spMk id="364" creationId="{E6D4758A-5750-48EB-9E1D-65336FD1A9B7}"/>
          </ac:spMkLst>
        </pc:spChg>
        <pc:spChg chg="mod">
          <ac:chgData name="Pierre Cavaroc" userId="150eff99-6aed-48f0-b13c-cabd0a4b3ac2" providerId="ADAL" clId="{E623609C-0EF4-4ECB-A655-127E285B354B}" dt="2021-03-21T23:02:37.896" v="6045" actId="27803"/>
          <ac:spMkLst>
            <pc:docMk/>
            <pc:sldMk cId="2136510916" sldId="2134803580"/>
            <ac:spMk id="365" creationId="{CEEEC8A9-7CCD-43D8-A28B-4571C1AD850E}"/>
          </ac:spMkLst>
        </pc:spChg>
        <pc:spChg chg="mod">
          <ac:chgData name="Pierre Cavaroc" userId="150eff99-6aed-48f0-b13c-cabd0a4b3ac2" providerId="ADAL" clId="{E623609C-0EF4-4ECB-A655-127E285B354B}" dt="2021-03-21T23:02:37.896" v="6045" actId="27803"/>
          <ac:spMkLst>
            <pc:docMk/>
            <pc:sldMk cId="2136510916" sldId="2134803580"/>
            <ac:spMk id="366" creationId="{467FF2B4-E9C2-426D-9F07-E4360DDA5A48}"/>
          </ac:spMkLst>
        </pc:spChg>
        <pc:spChg chg="mod">
          <ac:chgData name="Pierre Cavaroc" userId="150eff99-6aed-48f0-b13c-cabd0a4b3ac2" providerId="ADAL" clId="{E623609C-0EF4-4ECB-A655-127E285B354B}" dt="2021-03-21T23:02:37.896" v="6045" actId="27803"/>
          <ac:spMkLst>
            <pc:docMk/>
            <pc:sldMk cId="2136510916" sldId="2134803580"/>
            <ac:spMk id="367" creationId="{59DF0B9F-0A1C-4135-82FF-9484019FDE8A}"/>
          </ac:spMkLst>
        </pc:spChg>
        <pc:spChg chg="mod">
          <ac:chgData name="Pierre Cavaroc" userId="150eff99-6aed-48f0-b13c-cabd0a4b3ac2" providerId="ADAL" clId="{E623609C-0EF4-4ECB-A655-127E285B354B}" dt="2021-03-21T23:02:37.896" v="6045" actId="27803"/>
          <ac:spMkLst>
            <pc:docMk/>
            <pc:sldMk cId="2136510916" sldId="2134803580"/>
            <ac:spMk id="368" creationId="{488FC6F1-C83A-4C78-B8E4-37C882E01F0B}"/>
          </ac:spMkLst>
        </pc:spChg>
        <pc:spChg chg="mod">
          <ac:chgData name="Pierre Cavaroc" userId="150eff99-6aed-48f0-b13c-cabd0a4b3ac2" providerId="ADAL" clId="{E623609C-0EF4-4ECB-A655-127E285B354B}" dt="2021-03-21T23:02:37.896" v="6045" actId="27803"/>
          <ac:spMkLst>
            <pc:docMk/>
            <pc:sldMk cId="2136510916" sldId="2134803580"/>
            <ac:spMk id="369" creationId="{7927F9DF-9F6F-4754-BBAC-27C4352391E1}"/>
          </ac:spMkLst>
        </pc:spChg>
        <pc:spChg chg="mod">
          <ac:chgData name="Pierre Cavaroc" userId="150eff99-6aed-48f0-b13c-cabd0a4b3ac2" providerId="ADAL" clId="{E623609C-0EF4-4ECB-A655-127E285B354B}" dt="2021-03-21T23:02:37.896" v="6045" actId="27803"/>
          <ac:spMkLst>
            <pc:docMk/>
            <pc:sldMk cId="2136510916" sldId="2134803580"/>
            <ac:spMk id="370" creationId="{C96DE010-2CDF-485A-AECE-50B34CACB7AC}"/>
          </ac:spMkLst>
        </pc:spChg>
        <pc:spChg chg="mod">
          <ac:chgData name="Pierre Cavaroc" userId="150eff99-6aed-48f0-b13c-cabd0a4b3ac2" providerId="ADAL" clId="{E623609C-0EF4-4ECB-A655-127E285B354B}" dt="2021-03-21T23:02:37.896" v="6045" actId="27803"/>
          <ac:spMkLst>
            <pc:docMk/>
            <pc:sldMk cId="2136510916" sldId="2134803580"/>
            <ac:spMk id="371" creationId="{187E1091-0CAF-4F85-8EAF-0175B34B3398}"/>
          </ac:spMkLst>
        </pc:spChg>
        <pc:spChg chg="mod">
          <ac:chgData name="Pierre Cavaroc" userId="150eff99-6aed-48f0-b13c-cabd0a4b3ac2" providerId="ADAL" clId="{E623609C-0EF4-4ECB-A655-127E285B354B}" dt="2021-03-21T23:02:37.896" v="6045" actId="27803"/>
          <ac:spMkLst>
            <pc:docMk/>
            <pc:sldMk cId="2136510916" sldId="2134803580"/>
            <ac:spMk id="372" creationId="{98645D0B-CC77-4084-BFCE-54AF7562497F}"/>
          </ac:spMkLst>
        </pc:spChg>
        <pc:spChg chg="mod">
          <ac:chgData name="Pierre Cavaroc" userId="150eff99-6aed-48f0-b13c-cabd0a4b3ac2" providerId="ADAL" clId="{E623609C-0EF4-4ECB-A655-127E285B354B}" dt="2021-03-21T23:02:37.896" v="6045" actId="27803"/>
          <ac:spMkLst>
            <pc:docMk/>
            <pc:sldMk cId="2136510916" sldId="2134803580"/>
            <ac:spMk id="373" creationId="{9E6CD10C-5B98-4A27-A64B-2BCE38620FCE}"/>
          </ac:spMkLst>
        </pc:spChg>
        <pc:spChg chg="mod">
          <ac:chgData name="Pierre Cavaroc" userId="150eff99-6aed-48f0-b13c-cabd0a4b3ac2" providerId="ADAL" clId="{E623609C-0EF4-4ECB-A655-127E285B354B}" dt="2021-03-21T23:02:37.896" v="6045" actId="27803"/>
          <ac:spMkLst>
            <pc:docMk/>
            <pc:sldMk cId="2136510916" sldId="2134803580"/>
            <ac:spMk id="374" creationId="{5A68F4E4-CABA-4A02-B974-918FC199BBDD}"/>
          </ac:spMkLst>
        </pc:spChg>
        <pc:spChg chg="mod">
          <ac:chgData name="Pierre Cavaroc" userId="150eff99-6aed-48f0-b13c-cabd0a4b3ac2" providerId="ADAL" clId="{E623609C-0EF4-4ECB-A655-127E285B354B}" dt="2021-03-21T23:02:37.896" v="6045" actId="27803"/>
          <ac:spMkLst>
            <pc:docMk/>
            <pc:sldMk cId="2136510916" sldId="2134803580"/>
            <ac:spMk id="375" creationId="{7AC2FAB4-1B61-44EB-A61B-F10B2EFBF6DA}"/>
          </ac:spMkLst>
        </pc:spChg>
        <pc:spChg chg="mod">
          <ac:chgData name="Pierre Cavaroc" userId="150eff99-6aed-48f0-b13c-cabd0a4b3ac2" providerId="ADAL" clId="{E623609C-0EF4-4ECB-A655-127E285B354B}" dt="2021-03-21T23:02:37.896" v="6045" actId="27803"/>
          <ac:spMkLst>
            <pc:docMk/>
            <pc:sldMk cId="2136510916" sldId="2134803580"/>
            <ac:spMk id="376" creationId="{C28612A2-29DF-435E-B840-F64A3615B486}"/>
          </ac:spMkLst>
        </pc:spChg>
        <pc:spChg chg="mod">
          <ac:chgData name="Pierre Cavaroc" userId="150eff99-6aed-48f0-b13c-cabd0a4b3ac2" providerId="ADAL" clId="{E623609C-0EF4-4ECB-A655-127E285B354B}" dt="2021-03-21T23:02:37.896" v="6045" actId="27803"/>
          <ac:spMkLst>
            <pc:docMk/>
            <pc:sldMk cId="2136510916" sldId="2134803580"/>
            <ac:spMk id="377" creationId="{977CE474-FCC0-4E2F-B198-12E214A829B1}"/>
          </ac:spMkLst>
        </pc:spChg>
        <pc:spChg chg="mod">
          <ac:chgData name="Pierre Cavaroc" userId="150eff99-6aed-48f0-b13c-cabd0a4b3ac2" providerId="ADAL" clId="{E623609C-0EF4-4ECB-A655-127E285B354B}" dt="2021-03-21T23:02:37.896" v="6045" actId="27803"/>
          <ac:spMkLst>
            <pc:docMk/>
            <pc:sldMk cId="2136510916" sldId="2134803580"/>
            <ac:spMk id="378" creationId="{DCDB12B1-9061-477B-8E16-A87F9033F1CD}"/>
          </ac:spMkLst>
        </pc:spChg>
        <pc:spChg chg="mod">
          <ac:chgData name="Pierre Cavaroc" userId="150eff99-6aed-48f0-b13c-cabd0a4b3ac2" providerId="ADAL" clId="{E623609C-0EF4-4ECB-A655-127E285B354B}" dt="2021-03-21T23:02:37.896" v="6045" actId="27803"/>
          <ac:spMkLst>
            <pc:docMk/>
            <pc:sldMk cId="2136510916" sldId="2134803580"/>
            <ac:spMk id="379" creationId="{69C80B89-2A59-49B3-8B98-550A25253701}"/>
          </ac:spMkLst>
        </pc:spChg>
        <pc:spChg chg="mod">
          <ac:chgData name="Pierre Cavaroc" userId="150eff99-6aed-48f0-b13c-cabd0a4b3ac2" providerId="ADAL" clId="{E623609C-0EF4-4ECB-A655-127E285B354B}" dt="2021-03-21T23:02:37.896" v="6045" actId="27803"/>
          <ac:spMkLst>
            <pc:docMk/>
            <pc:sldMk cId="2136510916" sldId="2134803580"/>
            <ac:spMk id="380" creationId="{49D753FF-1BB7-45A1-8EBE-D2900E0CB384}"/>
          </ac:spMkLst>
        </pc:spChg>
        <pc:spChg chg="mod">
          <ac:chgData name="Pierre Cavaroc" userId="150eff99-6aed-48f0-b13c-cabd0a4b3ac2" providerId="ADAL" clId="{E623609C-0EF4-4ECB-A655-127E285B354B}" dt="2021-03-21T23:02:37.896" v="6045" actId="27803"/>
          <ac:spMkLst>
            <pc:docMk/>
            <pc:sldMk cId="2136510916" sldId="2134803580"/>
            <ac:spMk id="381" creationId="{6A3FDBE4-D11D-45DC-89EF-3223D8FC00C7}"/>
          </ac:spMkLst>
        </pc:spChg>
        <pc:spChg chg="mod">
          <ac:chgData name="Pierre Cavaroc" userId="150eff99-6aed-48f0-b13c-cabd0a4b3ac2" providerId="ADAL" clId="{E623609C-0EF4-4ECB-A655-127E285B354B}" dt="2021-03-21T23:02:37.896" v="6045" actId="27803"/>
          <ac:spMkLst>
            <pc:docMk/>
            <pc:sldMk cId="2136510916" sldId="2134803580"/>
            <ac:spMk id="382" creationId="{9CC92195-8779-4B93-8DC9-E9697D8EDF69}"/>
          </ac:spMkLst>
        </pc:spChg>
        <pc:spChg chg="mod">
          <ac:chgData name="Pierre Cavaroc" userId="150eff99-6aed-48f0-b13c-cabd0a4b3ac2" providerId="ADAL" clId="{E623609C-0EF4-4ECB-A655-127E285B354B}" dt="2021-03-21T23:02:37.896" v="6045" actId="27803"/>
          <ac:spMkLst>
            <pc:docMk/>
            <pc:sldMk cId="2136510916" sldId="2134803580"/>
            <ac:spMk id="383" creationId="{7D629B8E-80B8-4DB0-B919-754BBF6B210B}"/>
          </ac:spMkLst>
        </pc:spChg>
        <pc:spChg chg="mod">
          <ac:chgData name="Pierre Cavaroc" userId="150eff99-6aed-48f0-b13c-cabd0a4b3ac2" providerId="ADAL" clId="{E623609C-0EF4-4ECB-A655-127E285B354B}" dt="2021-03-21T23:02:37.896" v="6045" actId="27803"/>
          <ac:spMkLst>
            <pc:docMk/>
            <pc:sldMk cId="2136510916" sldId="2134803580"/>
            <ac:spMk id="384" creationId="{40F99A78-6EA8-4C10-8868-84CD81B27D3E}"/>
          </ac:spMkLst>
        </pc:spChg>
        <pc:spChg chg="mod">
          <ac:chgData name="Pierre Cavaroc" userId="150eff99-6aed-48f0-b13c-cabd0a4b3ac2" providerId="ADAL" clId="{E623609C-0EF4-4ECB-A655-127E285B354B}" dt="2021-03-21T23:02:37.896" v="6045" actId="27803"/>
          <ac:spMkLst>
            <pc:docMk/>
            <pc:sldMk cId="2136510916" sldId="2134803580"/>
            <ac:spMk id="385" creationId="{EE72882E-BB32-4948-AC97-8A5483CBEFD5}"/>
          </ac:spMkLst>
        </pc:spChg>
        <pc:spChg chg="mod">
          <ac:chgData name="Pierre Cavaroc" userId="150eff99-6aed-48f0-b13c-cabd0a4b3ac2" providerId="ADAL" clId="{E623609C-0EF4-4ECB-A655-127E285B354B}" dt="2021-03-21T23:02:37.896" v="6045" actId="27803"/>
          <ac:spMkLst>
            <pc:docMk/>
            <pc:sldMk cId="2136510916" sldId="2134803580"/>
            <ac:spMk id="386" creationId="{9A7EEC3C-485A-4FAA-B940-DEDF06BEB3C5}"/>
          </ac:spMkLst>
        </pc:spChg>
        <pc:spChg chg="mod">
          <ac:chgData name="Pierre Cavaroc" userId="150eff99-6aed-48f0-b13c-cabd0a4b3ac2" providerId="ADAL" clId="{E623609C-0EF4-4ECB-A655-127E285B354B}" dt="2021-03-21T23:02:37.896" v="6045" actId="27803"/>
          <ac:spMkLst>
            <pc:docMk/>
            <pc:sldMk cId="2136510916" sldId="2134803580"/>
            <ac:spMk id="387" creationId="{4FD29F21-36FD-4D7B-B97D-2C04EEFC44E6}"/>
          </ac:spMkLst>
        </pc:spChg>
        <pc:spChg chg="mod">
          <ac:chgData name="Pierre Cavaroc" userId="150eff99-6aed-48f0-b13c-cabd0a4b3ac2" providerId="ADAL" clId="{E623609C-0EF4-4ECB-A655-127E285B354B}" dt="2021-03-21T23:02:37.896" v="6045" actId="27803"/>
          <ac:spMkLst>
            <pc:docMk/>
            <pc:sldMk cId="2136510916" sldId="2134803580"/>
            <ac:spMk id="388" creationId="{91FAE78A-E621-4F8E-BA44-8FD0C12BCD41}"/>
          </ac:spMkLst>
        </pc:spChg>
        <pc:spChg chg="mod">
          <ac:chgData name="Pierre Cavaroc" userId="150eff99-6aed-48f0-b13c-cabd0a4b3ac2" providerId="ADAL" clId="{E623609C-0EF4-4ECB-A655-127E285B354B}" dt="2021-03-21T23:02:37.896" v="6045" actId="27803"/>
          <ac:spMkLst>
            <pc:docMk/>
            <pc:sldMk cId="2136510916" sldId="2134803580"/>
            <ac:spMk id="389" creationId="{EC98FAAD-6184-4D79-B880-13512D12E3F1}"/>
          </ac:spMkLst>
        </pc:spChg>
        <pc:spChg chg="mod">
          <ac:chgData name="Pierre Cavaroc" userId="150eff99-6aed-48f0-b13c-cabd0a4b3ac2" providerId="ADAL" clId="{E623609C-0EF4-4ECB-A655-127E285B354B}" dt="2021-03-21T23:02:37.896" v="6045" actId="27803"/>
          <ac:spMkLst>
            <pc:docMk/>
            <pc:sldMk cId="2136510916" sldId="2134803580"/>
            <ac:spMk id="390" creationId="{7927DF7A-93DF-4FCD-A838-EFAF695CD844}"/>
          </ac:spMkLst>
        </pc:spChg>
        <pc:spChg chg="mod">
          <ac:chgData name="Pierre Cavaroc" userId="150eff99-6aed-48f0-b13c-cabd0a4b3ac2" providerId="ADAL" clId="{E623609C-0EF4-4ECB-A655-127E285B354B}" dt="2021-03-21T23:02:37.896" v="6045" actId="27803"/>
          <ac:spMkLst>
            <pc:docMk/>
            <pc:sldMk cId="2136510916" sldId="2134803580"/>
            <ac:spMk id="391" creationId="{C661FCBE-2CC1-4CD2-A1FB-19654A2FBB7D}"/>
          </ac:spMkLst>
        </pc:spChg>
        <pc:spChg chg="mod">
          <ac:chgData name="Pierre Cavaroc" userId="150eff99-6aed-48f0-b13c-cabd0a4b3ac2" providerId="ADAL" clId="{E623609C-0EF4-4ECB-A655-127E285B354B}" dt="2021-03-21T23:02:37.896" v="6045" actId="27803"/>
          <ac:spMkLst>
            <pc:docMk/>
            <pc:sldMk cId="2136510916" sldId="2134803580"/>
            <ac:spMk id="392" creationId="{3B592C4E-6913-4371-9CA4-387F86125F10}"/>
          </ac:spMkLst>
        </pc:spChg>
        <pc:spChg chg="mod">
          <ac:chgData name="Pierre Cavaroc" userId="150eff99-6aed-48f0-b13c-cabd0a4b3ac2" providerId="ADAL" clId="{E623609C-0EF4-4ECB-A655-127E285B354B}" dt="2021-03-21T23:02:37.896" v="6045" actId="27803"/>
          <ac:spMkLst>
            <pc:docMk/>
            <pc:sldMk cId="2136510916" sldId="2134803580"/>
            <ac:spMk id="393" creationId="{099E6D01-1653-4811-80D9-26820DD667B7}"/>
          </ac:spMkLst>
        </pc:spChg>
        <pc:spChg chg="mod">
          <ac:chgData name="Pierre Cavaroc" userId="150eff99-6aed-48f0-b13c-cabd0a4b3ac2" providerId="ADAL" clId="{E623609C-0EF4-4ECB-A655-127E285B354B}" dt="2021-03-21T23:02:37.896" v="6045" actId="27803"/>
          <ac:spMkLst>
            <pc:docMk/>
            <pc:sldMk cId="2136510916" sldId="2134803580"/>
            <ac:spMk id="394" creationId="{9C38B4CE-A214-4FFB-8FE0-F487AB6047BF}"/>
          </ac:spMkLst>
        </pc:spChg>
        <pc:spChg chg="mod">
          <ac:chgData name="Pierre Cavaroc" userId="150eff99-6aed-48f0-b13c-cabd0a4b3ac2" providerId="ADAL" clId="{E623609C-0EF4-4ECB-A655-127E285B354B}" dt="2021-03-21T23:02:37.896" v="6045" actId="27803"/>
          <ac:spMkLst>
            <pc:docMk/>
            <pc:sldMk cId="2136510916" sldId="2134803580"/>
            <ac:spMk id="395" creationId="{3C248909-79CD-4163-BD39-B3D199320053}"/>
          </ac:spMkLst>
        </pc:spChg>
        <pc:spChg chg="mod">
          <ac:chgData name="Pierre Cavaroc" userId="150eff99-6aed-48f0-b13c-cabd0a4b3ac2" providerId="ADAL" clId="{E623609C-0EF4-4ECB-A655-127E285B354B}" dt="2021-03-21T23:02:37.896" v="6045" actId="27803"/>
          <ac:spMkLst>
            <pc:docMk/>
            <pc:sldMk cId="2136510916" sldId="2134803580"/>
            <ac:spMk id="396" creationId="{ED98E70C-8E1C-4E30-8C6A-C05E9E804C8E}"/>
          </ac:spMkLst>
        </pc:spChg>
        <pc:spChg chg="mod">
          <ac:chgData name="Pierre Cavaroc" userId="150eff99-6aed-48f0-b13c-cabd0a4b3ac2" providerId="ADAL" clId="{E623609C-0EF4-4ECB-A655-127E285B354B}" dt="2021-03-21T23:02:37.896" v="6045" actId="27803"/>
          <ac:spMkLst>
            <pc:docMk/>
            <pc:sldMk cId="2136510916" sldId="2134803580"/>
            <ac:spMk id="397" creationId="{04949677-2F13-40C7-8416-A128A4E2C6EE}"/>
          </ac:spMkLst>
        </pc:spChg>
        <pc:spChg chg="mod">
          <ac:chgData name="Pierre Cavaroc" userId="150eff99-6aed-48f0-b13c-cabd0a4b3ac2" providerId="ADAL" clId="{E623609C-0EF4-4ECB-A655-127E285B354B}" dt="2021-03-21T23:02:37.896" v="6045" actId="27803"/>
          <ac:spMkLst>
            <pc:docMk/>
            <pc:sldMk cId="2136510916" sldId="2134803580"/>
            <ac:spMk id="398" creationId="{B044AC07-62B8-4C53-9729-D91161A46A50}"/>
          </ac:spMkLst>
        </pc:spChg>
        <pc:spChg chg="mod">
          <ac:chgData name="Pierre Cavaroc" userId="150eff99-6aed-48f0-b13c-cabd0a4b3ac2" providerId="ADAL" clId="{E623609C-0EF4-4ECB-A655-127E285B354B}" dt="2021-03-21T23:02:37.896" v="6045" actId="27803"/>
          <ac:spMkLst>
            <pc:docMk/>
            <pc:sldMk cId="2136510916" sldId="2134803580"/>
            <ac:spMk id="399" creationId="{ABC43142-97D6-43EF-B1D4-E519D30759B6}"/>
          </ac:spMkLst>
        </pc:spChg>
        <pc:spChg chg="mod">
          <ac:chgData name="Pierre Cavaroc" userId="150eff99-6aed-48f0-b13c-cabd0a4b3ac2" providerId="ADAL" clId="{E623609C-0EF4-4ECB-A655-127E285B354B}" dt="2021-03-21T23:02:37.896" v="6045" actId="27803"/>
          <ac:spMkLst>
            <pc:docMk/>
            <pc:sldMk cId="2136510916" sldId="2134803580"/>
            <ac:spMk id="400" creationId="{94097C94-7C03-4BC8-8762-02E021C90033}"/>
          </ac:spMkLst>
        </pc:spChg>
        <pc:spChg chg="mod">
          <ac:chgData name="Pierre Cavaroc" userId="150eff99-6aed-48f0-b13c-cabd0a4b3ac2" providerId="ADAL" clId="{E623609C-0EF4-4ECB-A655-127E285B354B}" dt="2021-03-21T23:02:37.896" v="6045" actId="27803"/>
          <ac:spMkLst>
            <pc:docMk/>
            <pc:sldMk cId="2136510916" sldId="2134803580"/>
            <ac:spMk id="401" creationId="{68866225-D7A3-46B9-81EF-BA04D4C6EC1A}"/>
          </ac:spMkLst>
        </pc:spChg>
        <pc:spChg chg="mod">
          <ac:chgData name="Pierre Cavaroc" userId="150eff99-6aed-48f0-b13c-cabd0a4b3ac2" providerId="ADAL" clId="{E623609C-0EF4-4ECB-A655-127E285B354B}" dt="2021-03-21T23:02:37.896" v="6045" actId="27803"/>
          <ac:spMkLst>
            <pc:docMk/>
            <pc:sldMk cId="2136510916" sldId="2134803580"/>
            <ac:spMk id="402" creationId="{A3DCB15F-ED8F-464E-A05F-68632DAFB3E5}"/>
          </ac:spMkLst>
        </pc:spChg>
        <pc:spChg chg="mod">
          <ac:chgData name="Pierre Cavaroc" userId="150eff99-6aed-48f0-b13c-cabd0a4b3ac2" providerId="ADAL" clId="{E623609C-0EF4-4ECB-A655-127E285B354B}" dt="2021-03-21T23:02:37.896" v="6045" actId="27803"/>
          <ac:spMkLst>
            <pc:docMk/>
            <pc:sldMk cId="2136510916" sldId="2134803580"/>
            <ac:spMk id="403" creationId="{5BD63A24-7E91-4086-83AB-0470BAF7A073}"/>
          </ac:spMkLst>
        </pc:spChg>
        <pc:spChg chg="mod">
          <ac:chgData name="Pierre Cavaroc" userId="150eff99-6aed-48f0-b13c-cabd0a4b3ac2" providerId="ADAL" clId="{E623609C-0EF4-4ECB-A655-127E285B354B}" dt="2021-03-21T23:02:37.896" v="6045" actId="27803"/>
          <ac:spMkLst>
            <pc:docMk/>
            <pc:sldMk cId="2136510916" sldId="2134803580"/>
            <ac:spMk id="404" creationId="{AF10DC09-845C-482C-9716-D3512785ACBF}"/>
          </ac:spMkLst>
        </pc:spChg>
        <pc:spChg chg="mod">
          <ac:chgData name="Pierre Cavaroc" userId="150eff99-6aed-48f0-b13c-cabd0a4b3ac2" providerId="ADAL" clId="{E623609C-0EF4-4ECB-A655-127E285B354B}" dt="2021-03-21T23:02:37.896" v="6045" actId="27803"/>
          <ac:spMkLst>
            <pc:docMk/>
            <pc:sldMk cId="2136510916" sldId="2134803580"/>
            <ac:spMk id="405" creationId="{6B724B59-A548-4F77-911A-CAA6034D237C}"/>
          </ac:spMkLst>
        </pc:spChg>
        <pc:spChg chg="mod">
          <ac:chgData name="Pierre Cavaroc" userId="150eff99-6aed-48f0-b13c-cabd0a4b3ac2" providerId="ADAL" clId="{E623609C-0EF4-4ECB-A655-127E285B354B}" dt="2021-03-21T23:02:37.896" v="6045" actId="27803"/>
          <ac:spMkLst>
            <pc:docMk/>
            <pc:sldMk cId="2136510916" sldId="2134803580"/>
            <ac:spMk id="406" creationId="{4CF99847-524D-4024-8DB2-2ACFB2D98F9A}"/>
          </ac:spMkLst>
        </pc:spChg>
        <pc:spChg chg="mod">
          <ac:chgData name="Pierre Cavaroc" userId="150eff99-6aed-48f0-b13c-cabd0a4b3ac2" providerId="ADAL" clId="{E623609C-0EF4-4ECB-A655-127E285B354B}" dt="2021-03-21T23:02:37.896" v="6045" actId="27803"/>
          <ac:spMkLst>
            <pc:docMk/>
            <pc:sldMk cId="2136510916" sldId="2134803580"/>
            <ac:spMk id="407" creationId="{400C8D72-DAEB-4A97-B420-248B2ADD8C32}"/>
          </ac:spMkLst>
        </pc:spChg>
        <pc:spChg chg="mod">
          <ac:chgData name="Pierre Cavaroc" userId="150eff99-6aed-48f0-b13c-cabd0a4b3ac2" providerId="ADAL" clId="{E623609C-0EF4-4ECB-A655-127E285B354B}" dt="2021-03-21T23:02:37.896" v="6045" actId="27803"/>
          <ac:spMkLst>
            <pc:docMk/>
            <pc:sldMk cId="2136510916" sldId="2134803580"/>
            <ac:spMk id="408" creationId="{F0959501-E04A-4287-B3CE-3F4C42E60592}"/>
          </ac:spMkLst>
        </pc:spChg>
        <pc:spChg chg="mod">
          <ac:chgData name="Pierre Cavaroc" userId="150eff99-6aed-48f0-b13c-cabd0a4b3ac2" providerId="ADAL" clId="{E623609C-0EF4-4ECB-A655-127E285B354B}" dt="2021-03-21T23:02:37.896" v="6045" actId="27803"/>
          <ac:spMkLst>
            <pc:docMk/>
            <pc:sldMk cId="2136510916" sldId="2134803580"/>
            <ac:spMk id="409" creationId="{029C0ABE-211F-469A-98C3-975831FC1E76}"/>
          </ac:spMkLst>
        </pc:spChg>
        <pc:spChg chg="mod">
          <ac:chgData name="Pierre Cavaroc" userId="150eff99-6aed-48f0-b13c-cabd0a4b3ac2" providerId="ADAL" clId="{E623609C-0EF4-4ECB-A655-127E285B354B}" dt="2021-03-21T23:02:37.896" v="6045" actId="27803"/>
          <ac:spMkLst>
            <pc:docMk/>
            <pc:sldMk cId="2136510916" sldId="2134803580"/>
            <ac:spMk id="410" creationId="{75F43026-78C8-4D7A-A274-AFB3C5A80BA2}"/>
          </ac:spMkLst>
        </pc:spChg>
        <pc:spChg chg="mod">
          <ac:chgData name="Pierre Cavaroc" userId="150eff99-6aed-48f0-b13c-cabd0a4b3ac2" providerId="ADAL" clId="{E623609C-0EF4-4ECB-A655-127E285B354B}" dt="2021-03-21T23:02:37.896" v="6045" actId="27803"/>
          <ac:spMkLst>
            <pc:docMk/>
            <pc:sldMk cId="2136510916" sldId="2134803580"/>
            <ac:spMk id="411" creationId="{48C90377-713F-473F-978E-31DD4B968B54}"/>
          </ac:spMkLst>
        </pc:spChg>
        <pc:spChg chg="mod">
          <ac:chgData name="Pierre Cavaroc" userId="150eff99-6aed-48f0-b13c-cabd0a4b3ac2" providerId="ADAL" clId="{E623609C-0EF4-4ECB-A655-127E285B354B}" dt="2021-03-21T23:02:37.896" v="6045" actId="27803"/>
          <ac:spMkLst>
            <pc:docMk/>
            <pc:sldMk cId="2136510916" sldId="2134803580"/>
            <ac:spMk id="412" creationId="{4B3D4C2F-2D41-47CC-AA87-D78BE67AE61A}"/>
          </ac:spMkLst>
        </pc:spChg>
        <pc:spChg chg="mod">
          <ac:chgData name="Pierre Cavaroc" userId="150eff99-6aed-48f0-b13c-cabd0a4b3ac2" providerId="ADAL" clId="{E623609C-0EF4-4ECB-A655-127E285B354B}" dt="2021-03-21T23:02:37.896" v="6045" actId="27803"/>
          <ac:spMkLst>
            <pc:docMk/>
            <pc:sldMk cId="2136510916" sldId="2134803580"/>
            <ac:spMk id="413" creationId="{8E1D3D19-743F-473F-9B9C-FEC61F4EB1E8}"/>
          </ac:spMkLst>
        </pc:spChg>
        <pc:spChg chg="mod">
          <ac:chgData name="Pierre Cavaroc" userId="150eff99-6aed-48f0-b13c-cabd0a4b3ac2" providerId="ADAL" clId="{E623609C-0EF4-4ECB-A655-127E285B354B}" dt="2021-03-21T23:02:37.896" v="6045" actId="27803"/>
          <ac:spMkLst>
            <pc:docMk/>
            <pc:sldMk cId="2136510916" sldId="2134803580"/>
            <ac:spMk id="414" creationId="{7E83CD6B-8E58-41E9-9CEB-2F4110C220A6}"/>
          </ac:spMkLst>
        </pc:spChg>
        <pc:spChg chg="mod">
          <ac:chgData name="Pierre Cavaroc" userId="150eff99-6aed-48f0-b13c-cabd0a4b3ac2" providerId="ADAL" clId="{E623609C-0EF4-4ECB-A655-127E285B354B}" dt="2021-03-21T23:02:37.896" v="6045" actId="27803"/>
          <ac:spMkLst>
            <pc:docMk/>
            <pc:sldMk cId="2136510916" sldId="2134803580"/>
            <ac:spMk id="415" creationId="{1FFD7096-6CB3-4835-80F9-8E9735672553}"/>
          </ac:spMkLst>
        </pc:spChg>
        <pc:spChg chg="mod">
          <ac:chgData name="Pierre Cavaroc" userId="150eff99-6aed-48f0-b13c-cabd0a4b3ac2" providerId="ADAL" clId="{E623609C-0EF4-4ECB-A655-127E285B354B}" dt="2021-03-21T23:02:37.896" v="6045" actId="27803"/>
          <ac:spMkLst>
            <pc:docMk/>
            <pc:sldMk cId="2136510916" sldId="2134803580"/>
            <ac:spMk id="417" creationId="{567A28AC-AF5D-41E1-BBA0-25D476B78D5F}"/>
          </ac:spMkLst>
        </pc:spChg>
        <pc:spChg chg="mod">
          <ac:chgData name="Pierre Cavaroc" userId="150eff99-6aed-48f0-b13c-cabd0a4b3ac2" providerId="ADAL" clId="{E623609C-0EF4-4ECB-A655-127E285B354B}" dt="2021-03-21T23:02:37.896" v="6045" actId="27803"/>
          <ac:spMkLst>
            <pc:docMk/>
            <pc:sldMk cId="2136510916" sldId="2134803580"/>
            <ac:spMk id="418" creationId="{0C50A507-402D-4062-BBE2-8293C2FE15A1}"/>
          </ac:spMkLst>
        </pc:spChg>
        <pc:spChg chg="mod">
          <ac:chgData name="Pierre Cavaroc" userId="150eff99-6aed-48f0-b13c-cabd0a4b3ac2" providerId="ADAL" clId="{E623609C-0EF4-4ECB-A655-127E285B354B}" dt="2021-03-21T23:02:37.896" v="6045" actId="27803"/>
          <ac:spMkLst>
            <pc:docMk/>
            <pc:sldMk cId="2136510916" sldId="2134803580"/>
            <ac:spMk id="420" creationId="{9DBBE20C-836F-495B-9DCA-E4FA46DFF5BD}"/>
          </ac:spMkLst>
        </pc:spChg>
        <pc:spChg chg="mod">
          <ac:chgData name="Pierre Cavaroc" userId="150eff99-6aed-48f0-b13c-cabd0a4b3ac2" providerId="ADAL" clId="{E623609C-0EF4-4ECB-A655-127E285B354B}" dt="2021-03-21T23:02:37.896" v="6045" actId="27803"/>
          <ac:spMkLst>
            <pc:docMk/>
            <pc:sldMk cId="2136510916" sldId="2134803580"/>
            <ac:spMk id="421" creationId="{CF1D4F59-606A-4ECA-8098-7F849AA3B39A}"/>
          </ac:spMkLst>
        </pc:spChg>
        <pc:spChg chg="mod">
          <ac:chgData name="Pierre Cavaroc" userId="150eff99-6aed-48f0-b13c-cabd0a4b3ac2" providerId="ADAL" clId="{E623609C-0EF4-4ECB-A655-127E285B354B}" dt="2021-03-21T23:02:37.896" v="6045" actId="27803"/>
          <ac:spMkLst>
            <pc:docMk/>
            <pc:sldMk cId="2136510916" sldId="2134803580"/>
            <ac:spMk id="423" creationId="{504B90C8-4A49-4BB2-91C2-BDFF8F560782}"/>
          </ac:spMkLst>
        </pc:spChg>
        <pc:spChg chg="mod">
          <ac:chgData name="Pierre Cavaroc" userId="150eff99-6aed-48f0-b13c-cabd0a4b3ac2" providerId="ADAL" clId="{E623609C-0EF4-4ECB-A655-127E285B354B}" dt="2021-03-21T23:02:37.896" v="6045" actId="27803"/>
          <ac:spMkLst>
            <pc:docMk/>
            <pc:sldMk cId="2136510916" sldId="2134803580"/>
            <ac:spMk id="424" creationId="{B58BB80A-4AAC-474E-A1D8-4FE847E230CA}"/>
          </ac:spMkLst>
        </pc:spChg>
        <pc:spChg chg="mod">
          <ac:chgData name="Pierre Cavaroc" userId="150eff99-6aed-48f0-b13c-cabd0a4b3ac2" providerId="ADAL" clId="{E623609C-0EF4-4ECB-A655-127E285B354B}" dt="2021-03-21T23:02:37.896" v="6045" actId="27803"/>
          <ac:spMkLst>
            <pc:docMk/>
            <pc:sldMk cId="2136510916" sldId="2134803580"/>
            <ac:spMk id="425" creationId="{7217992C-4D47-48C0-AB2D-BBAB0ABAB178}"/>
          </ac:spMkLst>
        </pc:spChg>
        <pc:spChg chg="mod">
          <ac:chgData name="Pierre Cavaroc" userId="150eff99-6aed-48f0-b13c-cabd0a4b3ac2" providerId="ADAL" clId="{E623609C-0EF4-4ECB-A655-127E285B354B}" dt="2021-03-21T23:02:37.896" v="6045" actId="27803"/>
          <ac:spMkLst>
            <pc:docMk/>
            <pc:sldMk cId="2136510916" sldId="2134803580"/>
            <ac:spMk id="426" creationId="{B32288BD-A9AC-4828-9130-2CCEA2D64101}"/>
          </ac:spMkLst>
        </pc:spChg>
        <pc:spChg chg="mod">
          <ac:chgData name="Pierre Cavaroc" userId="150eff99-6aed-48f0-b13c-cabd0a4b3ac2" providerId="ADAL" clId="{E623609C-0EF4-4ECB-A655-127E285B354B}" dt="2021-03-21T23:02:37.896" v="6045" actId="27803"/>
          <ac:spMkLst>
            <pc:docMk/>
            <pc:sldMk cId="2136510916" sldId="2134803580"/>
            <ac:spMk id="427" creationId="{30389A7D-0639-429F-A148-53AF967A60DB}"/>
          </ac:spMkLst>
        </pc:spChg>
        <pc:spChg chg="mod">
          <ac:chgData name="Pierre Cavaroc" userId="150eff99-6aed-48f0-b13c-cabd0a4b3ac2" providerId="ADAL" clId="{E623609C-0EF4-4ECB-A655-127E285B354B}" dt="2021-03-21T23:02:37.896" v="6045" actId="27803"/>
          <ac:spMkLst>
            <pc:docMk/>
            <pc:sldMk cId="2136510916" sldId="2134803580"/>
            <ac:spMk id="429" creationId="{E7EA2404-CDA4-4D77-8707-92DF405399E9}"/>
          </ac:spMkLst>
        </pc:spChg>
        <pc:spChg chg="mod">
          <ac:chgData name="Pierre Cavaroc" userId="150eff99-6aed-48f0-b13c-cabd0a4b3ac2" providerId="ADAL" clId="{E623609C-0EF4-4ECB-A655-127E285B354B}" dt="2021-03-21T23:02:37.896" v="6045" actId="27803"/>
          <ac:spMkLst>
            <pc:docMk/>
            <pc:sldMk cId="2136510916" sldId="2134803580"/>
            <ac:spMk id="430" creationId="{03061605-68D5-4297-AC89-24C780270D8B}"/>
          </ac:spMkLst>
        </pc:spChg>
        <pc:spChg chg="mod">
          <ac:chgData name="Pierre Cavaroc" userId="150eff99-6aed-48f0-b13c-cabd0a4b3ac2" providerId="ADAL" clId="{E623609C-0EF4-4ECB-A655-127E285B354B}" dt="2021-03-21T23:02:37.896" v="6045" actId="27803"/>
          <ac:spMkLst>
            <pc:docMk/>
            <pc:sldMk cId="2136510916" sldId="2134803580"/>
            <ac:spMk id="431" creationId="{AFEB5AFF-5111-426F-9673-CE7E5FE13046}"/>
          </ac:spMkLst>
        </pc:spChg>
        <pc:spChg chg="mod">
          <ac:chgData name="Pierre Cavaroc" userId="150eff99-6aed-48f0-b13c-cabd0a4b3ac2" providerId="ADAL" clId="{E623609C-0EF4-4ECB-A655-127E285B354B}" dt="2021-03-21T23:02:37.896" v="6045" actId="27803"/>
          <ac:spMkLst>
            <pc:docMk/>
            <pc:sldMk cId="2136510916" sldId="2134803580"/>
            <ac:spMk id="432" creationId="{72B67334-C2C8-4A7F-A351-50B1F698EFC7}"/>
          </ac:spMkLst>
        </pc:spChg>
        <pc:spChg chg="mod">
          <ac:chgData name="Pierre Cavaroc" userId="150eff99-6aed-48f0-b13c-cabd0a4b3ac2" providerId="ADAL" clId="{E623609C-0EF4-4ECB-A655-127E285B354B}" dt="2021-03-21T23:02:37.896" v="6045" actId="27803"/>
          <ac:spMkLst>
            <pc:docMk/>
            <pc:sldMk cId="2136510916" sldId="2134803580"/>
            <ac:spMk id="433" creationId="{C9A6CA87-1C8A-4694-A750-FF952A7119A9}"/>
          </ac:spMkLst>
        </pc:spChg>
        <pc:spChg chg="mod">
          <ac:chgData name="Pierre Cavaroc" userId="150eff99-6aed-48f0-b13c-cabd0a4b3ac2" providerId="ADAL" clId="{E623609C-0EF4-4ECB-A655-127E285B354B}" dt="2021-03-21T23:02:53.691" v="6047" actId="27803"/>
          <ac:spMkLst>
            <pc:docMk/>
            <pc:sldMk cId="2136510916" sldId="2134803580"/>
            <ac:spMk id="435" creationId="{A4292719-5090-4247-AA8C-E4025F88DD82}"/>
          </ac:spMkLst>
        </pc:spChg>
        <pc:spChg chg="mod">
          <ac:chgData name="Pierre Cavaroc" userId="150eff99-6aed-48f0-b13c-cabd0a4b3ac2" providerId="ADAL" clId="{E623609C-0EF4-4ECB-A655-127E285B354B}" dt="2021-03-21T23:02:53.691" v="6047" actId="27803"/>
          <ac:spMkLst>
            <pc:docMk/>
            <pc:sldMk cId="2136510916" sldId="2134803580"/>
            <ac:spMk id="437" creationId="{75D9C776-67C6-49C8-89AF-17CED57C0719}"/>
          </ac:spMkLst>
        </pc:spChg>
        <pc:spChg chg="mod">
          <ac:chgData name="Pierre Cavaroc" userId="150eff99-6aed-48f0-b13c-cabd0a4b3ac2" providerId="ADAL" clId="{E623609C-0EF4-4ECB-A655-127E285B354B}" dt="2021-03-21T23:02:53.691" v="6047" actId="27803"/>
          <ac:spMkLst>
            <pc:docMk/>
            <pc:sldMk cId="2136510916" sldId="2134803580"/>
            <ac:spMk id="438" creationId="{74C710B6-E9C9-4F79-8593-D1AE2EB557E8}"/>
          </ac:spMkLst>
        </pc:spChg>
        <pc:spChg chg="mod">
          <ac:chgData name="Pierre Cavaroc" userId="150eff99-6aed-48f0-b13c-cabd0a4b3ac2" providerId="ADAL" clId="{E623609C-0EF4-4ECB-A655-127E285B354B}" dt="2021-03-21T23:02:53.691" v="6047" actId="27803"/>
          <ac:spMkLst>
            <pc:docMk/>
            <pc:sldMk cId="2136510916" sldId="2134803580"/>
            <ac:spMk id="439" creationId="{7AAE6285-E639-4B68-AAD7-4B9D12A530DF}"/>
          </ac:spMkLst>
        </pc:spChg>
        <pc:spChg chg="mod">
          <ac:chgData name="Pierre Cavaroc" userId="150eff99-6aed-48f0-b13c-cabd0a4b3ac2" providerId="ADAL" clId="{E623609C-0EF4-4ECB-A655-127E285B354B}" dt="2021-03-21T23:02:53.691" v="6047" actId="27803"/>
          <ac:spMkLst>
            <pc:docMk/>
            <pc:sldMk cId="2136510916" sldId="2134803580"/>
            <ac:spMk id="440" creationId="{228DC311-AF34-482E-A4DC-5835F7AD188A}"/>
          </ac:spMkLst>
        </pc:spChg>
        <pc:spChg chg="mod">
          <ac:chgData name="Pierre Cavaroc" userId="150eff99-6aed-48f0-b13c-cabd0a4b3ac2" providerId="ADAL" clId="{E623609C-0EF4-4ECB-A655-127E285B354B}" dt="2021-03-21T23:02:53.691" v="6047" actId="27803"/>
          <ac:spMkLst>
            <pc:docMk/>
            <pc:sldMk cId="2136510916" sldId="2134803580"/>
            <ac:spMk id="441" creationId="{DC0E26BE-F93E-4296-A00B-C138142D75CF}"/>
          </ac:spMkLst>
        </pc:spChg>
        <pc:spChg chg="mod">
          <ac:chgData name="Pierre Cavaroc" userId="150eff99-6aed-48f0-b13c-cabd0a4b3ac2" providerId="ADAL" clId="{E623609C-0EF4-4ECB-A655-127E285B354B}" dt="2021-03-21T23:02:53.691" v="6047" actId="27803"/>
          <ac:spMkLst>
            <pc:docMk/>
            <pc:sldMk cId="2136510916" sldId="2134803580"/>
            <ac:spMk id="442" creationId="{17BC7874-F3F5-4310-A9A3-202750C3250C}"/>
          </ac:spMkLst>
        </pc:spChg>
        <pc:spChg chg="mod">
          <ac:chgData name="Pierre Cavaroc" userId="150eff99-6aed-48f0-b13c-cabd0a4b3ac2" providerId="ADAL" clId="{E623609C-0EF4-4ECB-A655-127E285B354B}" dt="2021-03-21T23:02:53.691" v="6047" actId="27803"/>
          <ac:spMkLst>
            <pc:docMk/>
            <pc:sldMk cId="2136510916" sldId="2134803580"/>
            <ac:spMk id="443" creationId="{7E04AFB7-8BDD-47A4-8AB3-5F096821CB4E}"/>
          </ac:spMkLst>
        </pc:spChg>
        <pc:spChg chg="mod">
          <ac:chgData name="Pierre Cavaroc" userId="150eff99-6aed-48f0-b13c-cabd0a4b3ac2" providerId="ADAL" clId="{E623609C-0EF4-4ECB-A655-127E285B354B}" dt="2021-03-21T23:02:53.691" v="6047" actId="27803"/>
          <ac:spMkLst>
            <pc:docMk/>
            <pc:sldMk cId="2136510916" sldId="2134803580"/>
            <ac:spMk id="444" creationId="{A7887A2B-8F4F-4858-B662-12E6D371376A}"/>
          </ac:spMkLst>
        </pc:spChg>
        <pc:spChg chg="mod">
          <ac:chgData name="Pierre Cavaroc" userId="150eff99-6aed-48f0-b13c-cabd0a4b3ac2" providerId="ADAL" clId="{E623609C-0EF4-4ECB-A655-127E285B354B}" dt="2021-03-21T23:02:53.691" v="6047" actId="27803"/>
          <ac:spMkLst>
            <pc:docMk/>
            <pc:sldMk cId="2136510916" sldId="2134803580"/>
            <ac:spMk id="445" creationId="{C8229256-D4EC-468F-8B78-28D6C46BB494}"/>
          </ac:spMkLst>
        </pc:spChg>
        <pc:spChg chg="mod">
          <ac:chgData name="Pierre Cavaroc" userId="150eff99-6aed-48f0-b13c-cabd0a4b3ac2" providerId="ADAL" clId="{E623609C-0EF4-4ECB-A655-127E285B354B}" dt="2021-03-21T23:02:53.691" v="6047" actId="27803"/>
          <ac:spMkLst>
            <pc:docMk/>
            <pc:sldMk cId="2136510916" sldId="2134803580"/>
            <ac:spMk id="446" creationId="{00360961-4FDF-406E-B0B2-E3CA2B88F8F8}"/>
          </ac:spMkLst>
        </pc:spChg>
        <pc:spChg chg="mod">
          <ac:chgData name="Pierre Cavaroc" userId="150eff99-6aed-48f0-b13c-cabd0a4b3ac2" providerId="ADAL" clId="{E623609C-0EF4-4ECB-A655-127E285B354B}" dt="2021-03-21T23:02:53.691" v="6047" actId="27803"/>
          <ac:spMkLst>
            <pc:docMk/>
            <pc:sldMk cId="2136510916" sldId="2134803580"/>
            <ac:spMk id="447" creationId="{957AA99D-7650-44A3-AF9B-367023A03F09}"/>
          </ac:spMkLst>
        </pc:spChg>
        <pc:spChg chg="mod">
          <ac:chgData name="Pierre Cavaroc" userId="150eff99-6aed-48f0-b13c-cabd0a4b3ac2" providerId="ADAL" clId="{E623609C-0EF4-4ECB-A655-127E285B354B}" dt="2021-03-21T23:02:53.691" v="6047" actId="27803"/>
          <ac:spMkLst>
            <pc:docMk/>
            <pc:sldMk cId="2136510916" sldId="2134803580"/>
            <ac:spMk id="448" creationId="{AD9BD1C0-5E09-49D7-BEAB-99793E8A377B}"/>
          </ac:spMkLst>
        </pc:spChg>
        <pc:spChg chg="mod">
          <ac:chgData name="Pierre Cavaroc" userId="150eff99-6aed-48f0-b13c-cabd0a4b3ac2" providerId="ADAL" clId="{E623609C-0EF4-4ECB-A655-127E285B354B}" dt="2021-03-21T23:02:53.691" v="6047" actId="27803"/>
          <ac:spMkLst>
            <pc:docMk/>
            <pc:sldMk cId="2136510916" sldId="2134803580"/>
            <ac:spMk id="449" creationId="{7CFCDADC-0972-479C-8E6D-2570E1F494F4}"/>
          </ac:spMkLst>
        </pc:spChg>
        <pc:spChg chg="mod">
          <ac:chgData name="Pierre Cavaroc" userId="150eff99-6aed-48f0-b13c-cabd0a4b3ac2" providerId="ADAL" clId="{E623609C-0EF4-4ECB-A655-127E285B354B}" dt="2021-03-21T23:02:53.691" v="6047" actId="27803"/>
          <ac:spMkLst>
            <pc:docMk/>
            <pc:sldMk cId="2136510916" sldId="2134803580"/>
            <ac:spMk id="450" creationId="{6B22850A-8B8D-45CA-8F75-6884660FBD0E}"/>
          </ac:spMkLst>
        </pc:spChg>
        <pc:spChg chg="mod">
          <ac:chgData name="Pierre Cavaroc" userId="150eff99-6aed-48f0-b13c-cabd0a4b3ac2" providerId="ADAL" clId="{E623609C-0EF4-4ECB-A655-127E285B354B}" dt="2021-03-21T23:02:53.691" v="6047" actId="27803"/>
          <ac:spMkLst>
            <pc:docMk/>
            <pc:sldMk cId="2136510916" sldId="2134803580"/>
            <ac:spMk id="451" creationId="{6E98AD42-35B7-41D0-BB6B-A7B78A830B52}"/>
          </ac:spMkLst>
        </pc:spChg>
        <pc:spChg chg="mod">
          <ac:chgData name="Pierre Cavaroc" userId="150eff99-6aed-48f0-b13c-cabd0a4b3ac2" providerId="ADAL" clId="{E623609C-0EF4-4ECB-A655-127E285B354B}" dt="2021-03-21T23:02:53.691" v="6047" actId="27803"/>
          <ac:spMkLst>
            <pc:docMk/>
            <pc:sldMk cId="2136510916" sldId="2134803580"/>
            <ac:spMk id="452" creationId="{077D57BF-A84A-4CAE-8CA9-35DF9E0037AC}"/>
          </ac:spMkLst>
        </pc:spChg>
        <pc:spChg chg="mod">
          <ac:chgData name="Pierre Cavaroc" userId="150eff99-6aed-48f0-b13c-cabd0a4b3ac2" providerId="ADAL" clId="{E623609C-0EF4-4ECB-A655-127E285B354B}" dt="2021-03-21T23:02:53.691" v="6047" actId="27803"/>
          <ac:spMkLst>
            <pc:docMk/>
            <pc:sldMk cId="2136510916" sldId="2134803580"/>
            <ac:spMk id="453" creationId="{B6288636-FF3D-4F49-B2C4-CEB5645722BF}"/>
          </ac:spMkLst>
        </pc:spChg>
        <pc:spChg chg="mod">
          <ac:chgData name="Pierre Cavaroc" userId="150eff99-6aed-48f0-b13c-cabd0a4b3ac2" providerId="ADAL" clId="{E623609C-0EF4-4ECB-A655-127E285B354B}" dt="2021-03-21T23:02:53.691" v="6047" actId="27803"/>
          <ac:spMkLst>
            <pc:docMk/>
            <pc:sldMk cId="2136510916" sldId="2134803580"/>
            <ac:spMk id="454" creationId="{D34DC849-D60E-4682-AAAA-86D13A0A27AC}"/>
          </ac:spMkLst>
        </pc:spChg>
        <pc:spChg chg="mod">
          <ac:chgData name="Pierre Cavaroc" userId="150eff99-6aed-48f0-b13c-cabd0a4b3ac2" providerId="ADAL" clId="{E623609C-0EF4-4ECB-A655-127E285B354B}" dt="2021-03-21T23:02:53.691" v="6047" actId="27803"/>
          <ac:spMkLst>
            <pc:docMk/>
            <pc:sldMk cId="2136510916" sldId="2134803580"/>
            <ac:spMk id="455" creationId="{3B858345-1517-4032-986E-D0816BF2FCA6}"/>
          </ac:spMkLst>
        </pc:spChg>
        <pc:spChg chg="mod">
          <ac:chgData name="Pierre Cavaroc" userId="150eff99-6aed-48f0-b13c-cabd0a4b3ac2" providerId="ADAL" clId="{E623609C-0EF4-4ECB-A655-127E285B354B}" dt="2021-03-21T23:02:53.691" v="6047" actId="27803"/>
          <ac:spMkLst>
            <pc:docMk/>
            <pc:sldMk cId="2136510916" sldId="2134803580"/>
            <ac:spMk id="456" creationId="{185D11AE-A602-4328-B13B-50E05B805101}"/>
          </ac:spMkLst>
        </pc:spChg>
        <pc:spChg chg="mod">
          <ac:chgData name="Pierre Cavaroc" userId="150eff99-6aed-48f0-b13c-cabd0a4b3ac2" providerId="ADAL" clId="{E623609C-0EF4-4ECB-A655-127E285B354B}" dt="2021-03-21T23:02:53.691" v="6047" actId="27803"/>
          <ac:spMkLst>
            <pc:docMk/>
            <pc:sldMk cId="2136510916" sldId="2134803580"/>
            <ac:spMk id="457" creationId="{495C0F73-0FC0-4EE6-86C5-05B74DA8A097}"/>
          </ac:spMkLst>
        </pc:spChg>
        <pc:spChg chg="mod">
          <ac:chgData name="Pierre Cavaroc" userId="150eff99-6aed-48f0-b13c-cabd0a4b3ac2" providerId="ADAL" clId="{E623609C-0EF4-4ECB-A655-127E285B354B}" dt="2021-03-21T23:02:53.691" v="6047" actId="27803"/>
          <ac:spMkLst>
            <pc:docMk/>
            <pc:sldMk cId="2136510916" sldId="2134803580"/>
            <ac:spMk id="458" creationId="{E3149444-1808-472E-BC92-5AFC8D34F770}"/>
          </ac:spMkLst>
        </pc:spChg>
        <pc:spChg chg="mod">
          <ac:chgData name="Pierre Cavaroc" userId="150eff99-6aed-48f0-b13c-cabd0a4b3ac2" providerId="ADAL" clId="{E623609C-0EF4-4ECB-A655-127E285B354B}" dt="2021-03-21T23:02:53.691" v="6047" actId="27803"/>
          <ac:spMkLst>
            <pc:docMk/>
            <pc:sldMk cId="2136510916" sldId="2134803580"/>
            <ac:spMk id="459" creationId="{F5082EFB-3CB8-4DC0-8EF0-D1FB68C81701}"/>
          </ac:spMkLst>
        </pc:spChg>
        <pc:spChg chg="mod">
          <ac:chgData name="Pierre Cavaroc" userId="150eff99-6aed-48f0-b13c-cabd0a4b3ac2" providerId="ADAL" clId="{E623609C-0EF4-4ECB-A655-127E285B354B}" dt="2021-03-21T23:02:53.691" v="6047" actId="27803"/>
          <ac:spMkLst>
            <pc:docMk/>
            <pc:sldMk cId="2136510916" sldId="2134803580"/>
            <ac:spMk id="460" creationId="{8DA6D5E7-0785-4ABE-9AF9-DE0BDC61D854}"/>
          </ac:spMkLst>
        </pc:spChg>
        <pc:spChg chg="mod">
          <ac:chgData name="Pierre Cavaroc" userId="150eff99-6aed-48f0-b13c-cabd0a4b3ac2" providerId="ADAL" clId="{E623609C-0EF4-4ECB-A655-127E285B354B}" dt="2021-03-21T23:02:53.691" v="6047" actId="27803"/>
          <ac:spMkLst>
            <pc:docMk/>
            <pc:sldMk cId="2136510916" sldId="2134803580"/>
            <ac:spMk id="461" creationId="{73BCB0D6-D0E4-42C1-B0C8-7357B524925F}"/>
          </ac:spMkLst>
        </pc:spChg>
        <pc:spChg chg="mod">
          <ac:chgData name="Pierre Cavaroc" userId="150eff99-6aed-48f0-b13c-cabd0a4b3ac2" providerId="ADAL" clId="{E623609C-0EF4-4ECB-A655-127E285B354B}" dt="2021-03-21T23:02:53.691" v="6047" actId="27803"/>
          <ac:spMkLst>
            <pc:docMk/>
            <pc:sldMk cId="2136510916" sldId="2134803580"/>
            <ac:spMk id="462" creationId="{5820E5A1-0171-495B-B710-FDF37BC8D32D}"/>
          </ac:spMkLst>
        </pc:spChg>
        <pc:spChg chg="mod">
          <ac:chgData name="Pierre Cavaroc" userId="150eff99-6aed-48f0-b13c-cabd0a4b3ac2" providerId="ADAL" clId="{E623609C-0EF4-4ECB-A655-127E285B354B}" dt="2021-03-21T23:02:53.691" v="6047" actId="27803"/>
          <ac:spMkLst>
            <pc:docMk/>
            <pc:sldMk cId="2136510916" sldId="2134803580"/>
            <ac:spMk id="463" creationId="{90A93E51-8289-4E37-B87D-AEAE0CAC2AB3}"/>
          </ac:spMkLst>
        </pc:spChg>
        <pc:spChg chg="mod">
          <ac:chgData name="Pierre Cavaroc" userId="150eff99-6aed-48f0-b13c-cabd0a4b3ac2" providerId="ADAL" clId="{E623609C-0EF4-4ECB-A655-127E285B354B}" dt="2021-03-21T23:02:53.691" v="6047" actId="27803"/>
          <ac:spMkLst>
            <pc:docMk/>
            <pc:sldMk cId="2136510916" sldId="2134803580"/>
            <ac:spMk id="464" creationId="{1F87D58A-CAA3-458D-8BB9-C916CE2F8F10}"/>
          </ac:spMkLst>
        </pc:spChg>
        <pc:spChg chg="mod">
          <ac:chgData name="Pierre Cavaroc" userId="150eff99-6aed-48f0-b13c-cabd0a4b3ac2" providerId="ADAL" clId="{E623609C-0EF4-4ECB-A655-127E285B354B}" dt="2021-03-21T23:02:53.691" v="6047" actId="27803"/>
          <ac:spMkLst>
            <pc:docMk/>
            <pc:sldMk cId="2136510916" sldId="2134803580"/>
            <ac:spMk id="465" creationId="{3B5C7CCF-8541-4230-9BA5-BD3E8D29790C}"/>
          </ac:spMkLst>
        </pc:spChg>
        <pc:spChg chg="mod">
          <ac:chgData name="Pierre Cavaroc" userId="150eff99-6aed-48f0-b13c-cabd0a4b3ac2" providerId="ADAL" clId="{E623609C-0EF4-4ECB-A655-127E285B354B}" dt="2021-03-21T23:02:53.691" v="6047" actId="27803"/>
          <ac:spMkLst>
            <pc:docMk/>
            <pc:sldMk cId="2136510916" sldId="2134803580"/>
            <ac:spMk id="466" creationId="{22A44073-659C-4FBB-8969-92DD7FE1C1D5}"/>
          </ac:spMkLst>
        </pc:spChg>
        <pc:spChg chg="mod">
          <ac:chgData name="Pierre Cavaroc" userId="150eff99-6aed-48f0-b13c-cabd0a4b3ac2" providerId="ADAL" clId="{E623609C-0EF4-4ECB-A655-127E285B354B}" dt="2021-03-21T23:02:53.691" v="6047" actId="27803"/>
          <ac:spMkLst>
            <pc:docMk/>
            <pc:sldMk cId="2136510916" sldId="2134803580"/>
            <ac:spMk id="467" creationId="{89BC4A34-4576-4314-844E-96998D91232E}"/>
          </ac:spMkLst>
        </pc:spChg>
        <pc:spChg chg="mod">
          <ac:chgData name="Pierre Cavaroc" userId="150eff99-6aed-48f0-b13c-cabd0a4b3ac2" providerId="ADAL" clId="{E623609C-0EF4-4ECB-A655-127E285B354B}" dt="2021-03-21T23:02:53.691" v="6047" actId="27803"/>
          <ac:spMkLst>
            <pc:docMk/>
            <pc:sldMk cId="2136510916" sldId="2134803580"/>
            <ac:spMk id="468" creationId="{BCF7C6E9-A29B-407F-9A11-8B8818341B6F}"/>
          </ac:spMkLst>
        </pc:spChg>
        <pc:spChg chg="mod">
          <ac:chgData name="Pierre Cavaroc" userId="150eff99-6aed-48f0-b13c-cabd0a4b3ac2" providerId="ADAL" clId="{E623609C-0EF4-4ECB-A655-127E285B354B}" dt="2021-03-21T23:02:53.691" v="6047" actId="27803"/>
          <ac:spMkLst>
            <pc:docMk/>
            <pc:sldMk cId="2136510916" sldId="2134803580"/>
            <ac:spMk id="469" creationId="{5921C87F-28FC-404E-8202-523F1BF9F58F}"/>
          </ac:spMkLst>
        </pc:spChg>
        <pc:spChg chg="mod">
          <ac:chgData name="Pierre Cavaroc" userId="150eff99-6aed-48f0-b13c-cabd0a4b3ac2" providerId="ADAL" clId="{E623609C-0EF4-4ECB-A655-127E285B354B}" dt="2021-03-21T23:02:53.691" v="6047" actId="27803"/>
          <ac:spMkLst>
            <pc:docMk/>
            <pc:sldMk cId="2136510916" sldId="2134803580"/>
            <ac:spMk id="470" creationId="{169752AC-C903-481A-942B-2D63F9DA3A5E}"/>
          </ac:spMkLst>
        </pc:spChg>
        <pc:spChg chg="mod">
          <ac:chgData name="Pierre Cavaroc" userId="150eff99-6aed-48f0-b13c-cabd0a4b3ac2" providerId="ADAL" clId="{E623609C-0EF4-4ECB-A655-127E285B354B}" dt="2021-03-21T23:02:53.691" v="6047" actId="27803"/>
          <ac:spMkLst>
            <pc:docMk/>
            <pc:sldMk cId="2136510916" sldId="2134803580"/>
            <ac:spMk id="471" creationId="{35CCE804-D857-49C8-BBA6-599B54E94FD9}"/>
          </ac:spMkLst>
        </pc:spChg>
        <pc:spChg chg="mod">
          <ac:chgData name="Pierre Cavaroc" userId="150eff99-6aed-48f0-b13c-cabd0a4b3ac2" providerId="ADAL" clId="{E623609C-0EF4-4ECB-A655-127E285B354B}" dt="2021-03-21T23:02:53.691" v="6047" actId="27803"/>
          <ac:spMkLst>
            <pc:docMk/>
            <pc:sldMk cId="2136510916" sldId="2134803580"/>
            <ac:spMk id="472" creationId="{53662BA3-34EC-45B9-9779-CD6D0BF19228}"/>
          </ac:spMkLst>
        </pc:spChg>
        <pc:spChg chg="mod">
          <ac:chgData name="Pierre Cavaroc" userId="150eff99-6aed-48f0-b13c-cabd0a4b3ac2" providerId="ADAL" clId="{E623609C-0EF4-4ECB-A655-127E285B354B}" dt="2021-03-21T23:02:53.691" v="6047" actId="27803"/>
          <ac:spMkLst>
            <pc:docMk/>
            <pc:sldMk cId="2136510916" sldId="2134803580"/>
            <ac:spMk id="473" creationId="{166B14B0-7BB4-40E2-ABB0-9407C9574FED}"/>
          </ac:spMkLst>
        </pc:spChg>
        <pc:spChg chg="mod">
          <ac:chgData name="Pierre Cavaroc" userId="150eff99-6aed-48f0-b13c-cabd0a4b3ac2" providerId="ADAL" clId="{E623609C-0EF4-4ECB-A655-127E285B354B}" dt="2021-03-21T23:02:53.691" v="6047" actId="27803"/>
          <ac:spMkLst>
            <pc:docMk/>
            <pc:sldMk cId="2136510916" sldId="2134803580"/>
            <ac:spMk id="474" creationId="{A729735F-AD04-4CA1-8FAB-AB9195288111}"/>
          </ac:spMkLst>
        </pc:spChg>
        <pc:spChg chg="mod">
          <ac:chgData name="Pierre Cavaroc" userId="150eff99-6aed-48f0-b13c-cabd0a4b3ac2" providerId="ADAL" clId="{E623609C-0EF4-4ECB-A655-127E285B354B}" dt="2021-03-21T23:02:53.691" v="6047" actId="27803"/>
          <ac:spMkLst>
            <pc:docMk/>
            <pc:sldMk cId="2136510916" sldId="2134803580"/>
            <ac:spMk id="475" creationId="{B8068405-0EB4-4A97-8CED-BE0F52E392B2}"/>
          </ac:spMkLst>
        </pc:spChg>
        <pc:spChg chg="mod">
          <ac:chgData name="Pierre Cavaroc" userId="150eff99-6aed-48f0-b13c-cabd0a4b3ac2" providerId="ADAL" clId="{E623609C-0EF4-4ECB-A655-127E285B354B}" dt="2021-03-21T23:02:53.691" v="6047" actId="27803"/>
          <ac:spMkLst>
            <pc:docMk/>
            <pc:sldMk cId="2136510916" sldId="2134803580"/>
            <ac:spMk id="476" creationId="{7F1B3B54-F0C1-4B1C-ADAD-5C54369A5463}"/>
          </ac:spMkLst>
        </pc:spChg>
        <pc:spChg chg="mod">
          <ac:chgData name="Pierre Cavaroc" userId="150eff99-6aed-48f0-b13c-cabd0a4b3ac2" providerId="ADAL" clId="{E623609C-0EF4-4ECB-A655-127E285B354B}" dt="2021-03-21T23:02:53.691" v="6047" actId="27803"/>
          <ac:spMkLst>
            <pc:docMk/>
            <pc:sldMk cId="2136510916" sldId="2134803580"/>
            <ac:spMk id="477" creationId="{D9CC72C8-FC42-4E2D-8F0F-28E1C61E0A3A}"/>
          </ac:spMkLst>
        </pc:spChg>
        <pc:spChg chg="mod">
          <ac:chgData name="Pierre Cavaroc" userId="150eff99-6aed-48f0-b13c-cabd0a4b3ac2" providerId="ADAL" clId="{E623609C-0EF4-4ECB-A655-127E285B354B}" dt="2021-03-21T23:02:53.691" v="6047" actId="27803"/>
          <ac:spMkLst>
            <pc:docMk/>
            <pc:sldMk cId="2136510916" sldId="2134803580"/>
            <ac:spMk id="478" creationId="{9EAA3612-9AC6-490B-97DA-2535906EEFC8}"/>
          </ac:spMkLst>
        </pc:spChg>
        <pc:spChg chg="mod">
          <ac:chgData name="Pierre Cavaroc" userId="150eff99-6aed-48f0-b13c-cabd0a4b3ac2" providerId="ADAL" clId="{E623609C-0EF4-4ECB-A655-127E285B354B}" dt="2021-03-21T23:02:53.691" v="6047" actId="27803"/>
          <ac:spMkLst>
            <pc:docMk/>
            <pc:sldMk cId="2136510916" sldId="2134803580"/>
            <ac:spMk id="479" creationId="{F12FC037-ED6F-4041-9102-E752658A699A}"/>
          </ac:spMkLst>
        </pc:spChg>
        <pc:spChg chg="mod">
          <ac:chgData name="Pierre Cavaroc" userId="150eff99-6aed-48f0-b13c-cabd0a4b3ac2" providerId="ADAL" clId="{E623609C-0EF4-4ECB-A655-127E285B354B}" dt="2021-03-21T23:02:53.691" v="6047" actId="27803"/>
          <ac:spMkLst>
            <pc:docMk/>
            <pc:sldMk cId="2136510916" sldId="2134803580"/>
            <ac:spMk id="480" creationId="{2C830B86-5356-4C9A-BC2A-89692C879E99}"/>
          </ac:spMkLst>
        </pc:spChg>
        <pc:spChg chg="mod">
          <ac:chgData name="Pierre Cavaroc" userId="150eff99-6aed-48f0-b13c-cabd0a4b3ac2" providerId="ADAL" clId="{E623609C-0EF4-4ECB-A655-127E285B354B}" dt="2021-03-21T23:02:53.691" v="6047" actId="27803"/>
          <ac:spMkLst>
            <pc:docMk/>
            <pc:sldMk cId="2136510916" sldId="2134803580"/>
            <ac:spMk id="481" creationId="{1799CB57-0DA5-43D6-BB7E-A83F11E4E83F}"/>
          </ac:spMkLst>
        </pc:spChg>
        <pc:spChg chg="mod">
          <ac:chgData name="Pierre Cavaroc" userId="150eff99-6aed-48f0-b13c-cabd0a4b3ac2" providerId="ADAL" clId="{E623609C-0EF4-4ECB-A655-127E285B354B}" dt="2021-03-21T23:02:53.691" v="6047" actId="27803"/>
          <ac:spMkLst>
            <pc:docMk/>
            <pc:sldMk cId="2136510916" sldId="2134803580"/>
            <ac:spMk id="482" creationId="{96A6E1AC-7981-4AAB-B13A-514D7D9A8A84}"/>
          </ac:spMkLst>
        </pc:spChg>
        <pc:spChg chg="mod">
          <ac:chgData name="Pierre Cavaroc" userId="150eff99-6aed-48f0-b13c-cabd0a4b3ac2" providerId="ADAL" clId="{E623609C-0EF4-4ECB-A655-127E285B354B}" dt="2021-03-21T23:02:53.691" v="6047" actId="27803"/>
          <ac:spMkLst>
            <pc:docMk/>
            <pc:sldMk cId="2136510916" sldId="2134803580"/>
            <ac:spMk id="483" creationId="{63F1E4CF-A6B1-484B-915A-1FC0A647FE23}"/>
          </ac:spMkLst>
        </pc:spChg>
        <pc:spChg chg="mod">
          <ac:chgData name="Pierre Cavaroc" userId="150eff99-6aed-48f0-b13c-cabd0a4b3ac2" providerId="ADAL" clId="{E623609C-0EF4-4ECB-A655-127E285B354B}" dt="2021-03-21T23:02:53.691" v="6047" actId="27803"/>
          <ac:spMkLst>
            <pc:docMk/>
            <pc:sldMk cId="2136510916" sldId="2134803580"/>
            <ac:spMk id="484" creationId="{7ADDD998-BF78-4BA9-BBBA-925988CCF826}"/>
          </ac:spMkLst>
        </pc:spChg>
        <pc:spChg chg="mod">
          <ac:chgData name="Pierre Cavaroc" userId="150eff99-6aed-48f0-b13c-cabd0a4b3ac2" providerId="ADAL" clId="{E623609C-0EF4-4ECB-A655-127E285B354B}" dt="2021-03-21T23:02:53.691" v="6047" actId="27803"/>
          <ac:spMkLst>
            <pc:docMk/>
            <pc:sldMk cId="2136510916" sldId="2134803580"/>
            <ac:spMk id="485" creationId="{0A6B9614-E1CC-441B-8E3E-7604C1349606}"/>
          </ac:spMkLst>
        </pc:spChg>
        <pc:spChg chg="mod">
          <ac:chgData name="Pierre Cavaroc" userId="150eff99-6aed-48f0-b13c-cabd0a4b3ac2" providerId="ADAL" clId="{E623609C-0EF4-4ECB-A655-127E285B354B}" dt="2021-03-21T23:02:53.691" v="6047" actId="27803"/>
          <ac:spMkLst>
            <pc:docMk/>
            <pc:sldMk cId="2136510916" sldId="2134803580"/>
            <ac:spMk id="486" creationId="{A3857691-E110-4A3E-AF0F-647DB87D436E}"/>
          </ac:spMkLst>
        </pc:spChg>
        <pc:spChg chg="mod">
          <ac:chgData name="Pierre Cavaroc" userId="150eff99-6aed-48f0-b13c-cabd0a4b3ac2" providerId="ADAL" clId="{E623609C-0EF4-4ECB-A655-127E285B354B}" dt="2021-03-21T23:02:53.691" v="6047" actId="27803"/>
          <ac:spMkLst>
            <pc:docMk/>
            <pc:sldMk cId="2136510916" sldId="2134803580"/>
            <ac:spMk id="487" creationId="{92A8B809-8BAE-4ED1-9AD3-E1A61C156049}"/>
          </ac:spMkLst>
        </pc:spChg>
        <pc:spChg chg="mod">
          <ac:chgData name="Pierre Cavaroc" userId="150eff99-6aed-48f0-b13c-cabd0a4b3ac2" providerId="ADAL" clId="{E623609C-0EF4-4ECB-A655-127E285B354B}" dt="2021-03-21T23:02:53.691" v="6047" actId="27803"/>
          <ac:spMkLst>
            <pc:docMk/>
            <pc:sldMk cId="2136510916" sldId="2134803580"/>
            <ac:spMk id="488" creationId="{3918948D-1222-47FA-A206-5E415CD1AD9E}"/>
          </ac:spMkLst>
        </pc:spChg>
        <pc:spChg chg="mod">
          <ac:chgData name="Pierre Cavaroc" userId="150eff99-6aed-48f0-b13c-cabd0a4b3ac2" providerId="ADAL" clId="{E623609C-0EF4-4ECB-A655-127E285B354B}" dt="2021-03-21T23:02:53.691" v="6047" actId="27803"/>
          <ac:spMkLst>
            <pc:docMk/>
            <pc:sldMk cId="2136510916" sldId="2134803580"/>
            <ac:spMk id="489" creationId="{B13BDE38-99C3-4A78-B488-D55B1F5F6D73}"/>
          </ac:spMkLst>
        </pc:spChg>
        <pc:spChg chg="mod">
          <ac:chgData name="Pierre Cavaroc" userId="150eff99-6aed-48f0-b13c-cabd0a4b3ac2" providerId="ADAL" clId="{E623609C-0EF4-4ECB-A655-127E285B354B}" dt="2021-03-21T23:02:53.691" v="6047" actId="27803"/>
          <ac:spMkLst>
            <pc:docMk/>
            <pc:sldMk cId="2136510916" sldId="2134803580"/>
            <ac:spMk id="490" creationId="{EE412EA4-A9EF-45F1-A270-3BFF271B9F93}"/>
          </ac:spMkLst>
        </pc:spChg>
        <pc:spChg chg="mod">
          <ac:chgData name="Pierre Cavaroc" userId="150eff99-6aed-48f0-b13c-cabd0a4b3ac2" providerId="ADAL" clId="{E623609C-0EF4-4ECB-A655-127E285B354B}" dt="2021-03-21T23:02:53.691" v="6047" actId="27803"/>
          <ac:spMkLst>
            <pc:docMk/>
            <pc:sldMk cId="2136510916" sldId="2134803580"/>
            <ac:spMk id="491" creationId="{B6C98175-1C52-4792-8FCC-AFF1477CD9A8}"/>
          </ac:spMkLst>
        </pc:spChg>
        <pc:spChg chg="mod">
          <ac:chgData name="Pierre Cavaroc" userId="150eff99-6aed-48f0-b13c-cabd0a4b3ac2" providerId="ADAL" clId="{E623609C-0EF4-4ECB-A655-127E285B354B}" dt="2021-03-21T23:02:53.691" v="6047" actId="27803"/>
          <ac:spMkLst>
            <pc:docMk/>
            <pc:sldMk cId="2136510916" sldId="2134803580"/>
            <ac:spMk id="492" creationId="{533233B9-12A7-471E-B4EB-3A7301F4C7E5}"/>
          </ac:spMkLst>
        </pc:spChg>
        <pc:spChg chg="mod">
          <ac:chgData name="Pierre Cavaroc" userId="150eff99-6aed-48f0-b13c-cabd0a4b3ac2" providerId="ADAL" clId="{E623609C-0EF4-4ECB-A655-127E285B354B}" dt="2021-03-21T23:02:53.691" v="6047" actId="27803"/>
          <ac:spMkLst>
            <pc:docMk/>
            <pc:sldMk cId="2136510916" sldId="2134803580"/>
            <ac:spMk id="493" creationId="{803325FB-93DB-4EDC-9759-8021822C0C5F}"/>
          </ac:spMkLst>
        </pc:spChg>
        <pc:spChg chg="mod">
          <ac:chgData name="Pierre Cavaroc" userId="150eff99-6aed-48f0-b13c-cabd0a4b3ac2" providerId="ADAL" clId="{E623609C-0EF4-4ECB-A655-127E285B354B}" dt="2021-03-21T23:02:53.691" v="6047" actId="27803"/>
          <ac:spMkLst>
            <pc:docMk/>
            <pc:sldMk cId="2136510916" sldId="2134803580"/>
            <ac:spMk id="494" creationId="{9A5891F1-016F-468C-A1C7-5507D9EEDC16}"/>
          </ac:spMkLst>
        </pc:spChg>
        <pc:spChg chg="mod">
          <ac:chgData name="Pierre Cavaroc" userId="150eff99-6aed-48f0-b13c-cabd0a4b3ac2" providerId="ADAL" clId="{E623609C-0EF4-4ECB-A655-127E285B354B}" dt="2021-03-21T23:02:53.691" v="6047" actId="27803"/>
          <ac:spMkLst>
            <pc:docMk/>
            <pc:sldMk cId="2136510916" sldId="2134803580"/>
            <ac:spMk id="495" creationId="{7B49E37E-B438-48D2-B809-5734BF3DC165}"/>
          </ac:spMkLst>
        </pc:spChg>
        <pc:spChg chg="mod">
          <ac:chgData name="Pierre Cavaroc" userId="150eff99-6aed-48f0-b13c-cabd0a4b3ac2" providerId="ADAL" clId="{E623609C-0EF4-4ECB-A655-127E285B354B}" dt="2021-03-21T23:02:53.691" v="6047" actId="27803"/>
          <ac:spMkLst>
            <pc:docMk/>
            <pc:sldMk cId="2136510916" sldId="2134803580"/>
            <ac:spMk id="496" creationId="{026514FF-F1BC-4FA4-AB44-50EA6CCE3C90}"/>
          </ac:spMkLst>
        </pc:spChg>
        <pc:spChg chg="mod">
          <ac:chgData name="Pierre Cavaroc" userId="150eff99-6aed-48f0-b13c-cabd0a4b3ac2" providerId="ADAL" clId="{E623609C-0EF4-4ECB-A655-127E285B354B}" dt="2021-03-21T23:02:53.691" v="6047" actId="27803"/>
          <ac:spMkLst>
            <pc:docMk/>
            <pc:sldMk cId="2136510916" sldId="2134803580"/>
            <ac:spMk id="497" creationId="{457F29FF-D1C5-44DC-B41D-E711FBDD4961}"/>
          </ac:spMkLst>
        </pc:spChg>
        <pc:spChg chg="mod">
          <ac:chgData name="Pierre Cavaroc" userId="150eff99-6aed-48f0-b13c-cabd0a4b3ac2" providerId="ADAL" clId="{E623609C-0EF4-4ECB-A655-127E285B354B}" dt="2021-03-21T23:02:53.691" v="6047" actId="27803"/>
          <ac:spMkLst>
            <pc:docMk/>
            <pc:sldMk cId="2136510916" sldId="2134803580"/>
            <ac:spMk id="498" creationId="{EB6240D7-0604-4E9F-ACAE-25023D7C705C}"/>
          </ac:spMkLst>
        </pc:spChg>
        <pc:spChg chg="mod">
          <ac:chgData name="Pierre Cavaroc" userId="150eff99-6aed-48f0-b13c-cabd0a4b3ac2" providerId="ADAL" clId="{E623609C-0EF4-4ECB-A655-127E285B354B}" dt="2021-03-21T23:02:53.691" v="6047" actId="27803"/>
          <ac:spMkLst>
            <pc:docMk/>
            <pc:sldMk cId="2136510916" sldId="2134803580"/>
            <ac:spMk id="499" creationId="{6E2856D5-4AF0-4D3B-AA3E-EF342CABA41C}"/>
          </ac:spMkLst>
        </pc:spChg>
        <pc:spChg chg="mod">
          <ac:chgData name="Pierre Cavaroc" userId="150eff99-6aed-48f0-b13c-cabd0a4b3ac2" providerId="ADAL" clId="{E623609C-0EF4-4ECB-A655-127E285B354B}" dt="2021-03-21T23:02:53.691" v="6047" actId="27803"/>
          <ac:spMkLst>
            <pc:docMk/>
            <pc:sldMk cId="2136510916" sldId="2134803580"/>
            <ac:spMk id="500" creationId="{48CD409F-5C1F-4921-80D4-8F93788740C2}"/>
          </ac:spMkLst>
        </pc:spChg>
        <pc:spChg chg="mod">
          <ac:chgData name="Pierre Cavaroc" userId="150eff99-6aed-48f0-b13c-cabd0a4b3ac2" providerId="ADAL" clId="{E623609C-0EF4-4ECB-A655-127E285B354B}" dt="2021-03-21T23:02:53.691" v="6047" actId="27803"/>
          <ac:spMkLst>
            <pc:docMk/>
            <pc:sldMk cId="2136510916" sldId="2134803580"/>
            <ac:spMk id="501" creationId="{A8303DBB-0B4E-4E24-BC6F-9FDC2ABB9D0A}"/>
          </ac:spMkLst>
        </pc:spChg>
        <pc:spChg chg="mod">
          <ac:chgData name="Pierre Cavaroc" userId="150eff99-6aed-48f0-b13c-cabd0a4b3ac2" providerId="ADAL" clId="{E623609C-0EF4-4ECB-A655-127E285B354B}" dt="2021-03-21T23:02:53.691" v="6047" actId="27803"/>
          <ac:spMkLst>
            <pc:docMk/>
            <pc:sldMk cId="2136510916" sldId="2134803580"/>
            <ac:spMk id="502" creationId="{AA9EFEBC-41B8-4B3B-B23E-C9CB77E6B6F8}"/>
          </ac:spMkLst>
        </pc:spChg>
        <pc:spChg chg="mod">
          <ac:chgData name="Pierre Cavaroc" userId="150eff99-6aed-48f0-b13c-cabd0a4b3ac2" providerId="ADAL" clId="{E623609C-0EF4-4ECB-A655-127E285B354B}" dt="2021-03-21T23:02:53.691" v="6047" actId="27803"/>
          <ac:spMkLst>
            <pc:docMk/>
            <pc:sldMk cId="2136510916" sldId="2134803580"/>
            <ac:spMk id="503" creationId="{21B9C71F-20BC-4030-B8D1-16818788060A}"/>
          </ac:spMkLst>
        </pc:spChg>
        <pc:spChg chg="mod">
          <ac:chgData name="Pierre Cavaroc" userId="150eff99-6aed-48f0-b13c-cabd0a4b3ac2" providerId="ADAL" clId="{E623609C-0EF4-4ECB-A655-127E285B354B}" dt="2021-03-21T23:02:53.691" v="6047" actId="27803"/>
          <ac:spMkLst>
            <pc:docMk/>
            <pc:sldMk cId="2136510916" sldId="2134803580"/>
            <ac:spMk id="504" creationId="{CE3EBD9F-4B77-4184-9802-67B05E0F4551}"/>
          </ac:spMkLst>
        </pc:spChg>
        <pc:spChg chg="mod">
          <ac:chgData name="Pierre Cavaroc" userId="150eff99-6aed-48f0-b13c-cabd0a4b3ac2" providerId="ADAL" clId="{E623609C-0EF4-4ECB-A655-127E285B354B}" dt="2021-03-21T23:02:53.691" v="6047" actId="27803"/>
          <ac:spMkLst>
            <pc:docMk/>
            <pc:sldMk cId="2136510916" sldId="2134803580"/>
            <ac:spMk id="505" creationId="{B9D0382C-8AC4-46F6-915F-A26A3424F6D6}"/>
          </ac:spMkLst>
        </pc:spChg>
        <pc:spChg chg="mod">
          <ac:chgData name="Pierre Cavaroc" userId="150eff99-6aed-48f0-b13c-cabd0a4b3ac2" providerId="ADAL" clId="{E623609C-0EF4-4ECB-A655-127E285B354B}" dt="2021-03-21T23:02:53.691" v="6047" actId="27803"/>
          <ac:spMkLst>
            <pc:docMk/>
            <pc:sldMk cId="2136510916" sldId="2134803580"/>
            <ac:spMk id="506" creationId="{073A7DAA-9051-4B17-8D66-37FF9558E854}"/>
          </ac:spMkLst>
        </pc:spChg>
        <pc:spChg chg="mod">
          <ac:chgData name="Pierre Cavaroc" userId="150eff99-6aed-48f0-b13c-cabd0a4b3ac2" providerId="ADAL" clId="{E623609C-0EF4-4ECB-A655-127E285B354B}" dt="2021-03-21T23:02:53.691" v="6047" actId="27803"/>
          <ac:spMkLst>
            <pc:docMk/>
            <pc:sldMk cId="2136510916" sldId="2134803580"/>
            <ac:spMk id="507" creationId="{1BC8A304-5C6C-46C3-A027-16BEE8DF3D04}"/>
          </ac:spMkLst>
        </pc:spChg>
        <pc:spChg chg="mod">
          <ac:chgData name="Pierre Cavaroc" userId="150eff99-6aed-48f0-b13c-cabd0a4b3ac2" providerId="ADAL" clId="{E623609C-0EF4-4ECB-A655-127E285B354B}" dt="2021-03-21T23:02:53.691" v="6047" actId="27803"/>
          <ac:spMkLst>
            <pc:docMk/>
            <pc:sldMk cId="2136510916" sldId="2134803580"/>
            <ac:spMk id="508" creationId="{1A1F4568-6B19-4800-8CF7-836C803B5A10}"/>
          </ac:spMkLst>
        </pc:spChg>
        <pc:spChg chg="mod">
          <ac:chgData name="Pierre Cavaroc" userId="150eff99-6aed-48f0-b13c-cabd0a4b3ac2" providerId="ADAL" clId="{E623609C-0EF4-4ECB-A655-127E285B354B}" dt="2021-03-21T23:02:53.691" v="6047" actId="27803"/>
          <ac:spMkLst>
            <pc:docMk/>
            <pc:sldMk cId="2136510916" sldId="2134803580"/>
            <ac:spMk id="509" creationId="{BBF1FAFF-3DD2-4051-8B75-ED3695A844B2}"/>
          </ac:spMkLst>
        </pc:spChg>
        <pc:spChg chg="mod">
          <ac:chgData name="Pierre Cavaroc" userId="150eff99-6aed-48f0-b13c-cabd0a4b3ac2" providerId="ADAL" clId="{E623609C-0EF4-4ECB-A655-127E285B354B}" dt="2021-03-21T23:02:53.691" v="6047" actId="27803"/>
          <ac:spMkLst>
            <pc:docMk/>
            <pc:sldMk cId="2136510916" sldId="2134803580"/>
            <ac:spMk id="510" creationId="{27F701ED-45DB-485B-833A-DD6F8677E112}"/>
          </ac:spMkLst>
        </pc:spChg>
        <pc:spChg chg="mod">
          <ac:chgData name="Pierre Cavaroc" userId="150eff99-6aed-48f0-b13c-cabd0a4b3ac2" providerId="ADAL" clId="{E623609C-0EF4-4ECB-A655-127E285B354B}" dt="2021-03-21T23:02:53.691" v="6047" actId="27803"/>
          <ac:spMkLst>
            <pc:docMk/>
            <pc:sldMk cId="2136510916" sldId="2134803580"/>
            <ac:spMk id="511" creationId="{90100422-67DD-4629-AB9C-303388E36F11}"/>
          </ac:spMkLst>
        </pc:spChg>
        <pc:spChg chg="mod">
          <ac:chgData name="Pierre Cavaroc" userId="150eff99-6aed-48f0-b13c-cabd0a4b3ac2" providerId="ADAL" clId="{E623609C-0EF4-4ECB-A655-127E285B354B}" dt="2021-03-21T23:02:53.691" v="6047" actId="27803"/>
          <ac:spMkLst>
            <pc:docMk/>
            <pc:sldMk cId="2136510916" sldId="2134803580"/>
            <ac:spMk id="512" creationId="{0E803751-5E26-43B3-8F7D-F64776A0E5F1}"/>
          </ac:spMkLst>
        </pc:spChg>
        <pc:spChg chg="mod">
          <ac:chgData name="Pierre Cavaroc" userId="150eff99-6aed-48f0-b13c-cabd0a4b3ac2" providerId="ADAL" clId="{E623609C-0EF4-4ECB-A655-127E285B354B}" dt="2021-03-21T23:02:53.691" v="6047" actId="27803"/>
          <ac:spMkLst>
            <pc:docMk/>
            <pc:sldMk cId="2136510916" sldId="2134803580"/>
            <ac:spMk id="513" creationId="{1B954D78-9396-4AA8-90BF-2E458F3D8699}"/>
          </ac:spMkLst>
        </pc:spChg>
        <pc:spChg chg="mod">
          <ac:chgData name="Pierre Cavaroc" userId="150eff99-6aed-48f0-b13c-cabd0a4b3ac2" providerId="ADAL" clId="{E623609C-0EF4-4ECB-A655-127E285B354B}" dt="2021-03-21T23:02:53.691" v="6047" actId="27803"/>
          <ac:spMkLst>
            <pc:docMk/>
            <pc:sldMk cId="2136510916" sldId="2134803580"/>
            <ac:spMk id="514" creationId="{2530C914-6D7A-4A17-A37B-FE15C6CC3B9D}"/>
          </ac:spMkLst>
        </pc:spChg>
        <pc:spChg chg="mod">
          <ac:chgData name="Pierre Cavaroc" userId="150eff99-6aed-48f0-b13c-cabd0a4b3ac2" providerId="ADAL" clId="{E623609C-0EF4-4ECB-A655-127E285B354B}" dt="2021-03-21T23:02:53.691" v="6047" actId="27803"/>
          <ac:spMkLst>
            <pc:docMk/>
            <pc:sldMk cId="2136510916" sldId="2134803580"/>
            <ac:spMk id="515" creationId="{C1DFF7F2-883C-4C63-B209-FBCBAECDBE20}"/>
          </ac:spMkLst>
        </pc:spChg>
        <pc:spChg chg="mod">
          <ac:chgData name="Pierre Cavaroc" userId="150eff99-6aed-48f0-b13c-cabd0a4b3ac2" providerId="ADAL" clId="{E623609C-0EF4-4ECB-A655-127E285B354B}" dt="2021-03-21T23:02:53.691" v="6047" actId="27803"/>
          <ac:spMkLst>
            <pc:docMk/>
            <pc:sldMk cId="2136510916" sldId="2134803580"/>
            <ac:spMk id="516" creationId="{D1BA0A31-64D3-48E7-BE61-DC0D4CD78564}"/>
          </ac:spMkLst>
        </pc:spChg>
        <pc:spChg chg="mod">
          <ac:chgData name="Pierre Cavaroc" userId="150eff99-6aed-48f0-b13c-cabd0a4b3ac2" providerId="ADAL" clId="{E623609C-0EF4-4ECB-A655-127E285B354B}" dt="2021-03-21T23:02:53.691" v="6047" actId="27803"/>
          <ac:spMkLst>
            <pc:docMk/>
            <pc:sldMk cId="2136510916" sldId="2134803580"/>
            <ac:spMk id="517" creationId="{8D77188D-1843-48BB-86C3-A5DD2A35DD73}"/>
          </ac:spMkLst>
        </pc:spChg>
        <pc:spChg chg="mod">
          <ac:chgData name="Pierre Cavaroc" userId="150eff99-6aed-48f0-b13c-cabd0a4b3ac2" providerId="ADAL" clId="{E623609C-0EF4-4ECB-A655-127E285B354B}" dt="2021-03-21T23:02:53.691" v="6047" actId="27803"/>
          <ac:spMkLst>
            <pc:docMk/>
            <pc:sldMk cId="2136510916" sldId="2134803580"/>
            <ac:spMk id="518" creationId="{8444FF9D-286C-404A-AA1B-1F1DD0D367A0}"/>
          </ac:spMkLst>
        </pc:spChg>
        <pc:spChg chg="mod">
          <ac:chgData name="Pierre Cavaroc" userId="150eff99-6aed-48f0-b13c-cabd0a4b3ac2" providerId="ADAL" clId="{E623609C-0EF4-4ECB-A655-127E285B354B}" dt="2021-03-21T23:02:53.691" v="6047" actId="27803"/>
          <ac:spMkLst>
            <pc:docMk/>
            <pc:sldMk cId="2136510916" sldId="2134803580"/>
            <ac:spMk id="519" creationId="{C6462DD3-4A13-481C-B517-806568A7F35D}"/>
          </ac:spMkLst>
        </pc:spChg>
        <pc:spChg chg="mod">
          <ac:chgData name="Pierre Cavaroc" userId="150eff99-6aed-48f0-b13c-cabd0a4b3ac2" providerId="ADAL" clId="{E623609C-0EF4-4ECB-A655-127E285B354B}" dt="2021-03-21T23:02:53.691" v="6047" actId="27803"/>
          <ac:spMkLst>
            <pc:docMk/>
            <pc:sldMk cId="2136510916" sldId="2134803580"/>
            <ac:spMk id="520" creationId="{515FBA0C-B761-423B-8B82-3E149B5E281B}"/>
          </ac:spMkLst>
        </pc:spChg>
        <pc:spChg chg="mod">
          <ac:chgData name="Pierre Cavaroc" userId="150eff99-6aed-48f0-b13c-cabd0a4b3ac2" providerId="ADAL" clId="{E623609C-0EF4-4ECB-A655-127E285B354B}" dt="2021-03-21T23:02:53.691" v="6047" actId="27803"/>
          <ac:spMkLst>
            <pc:docMk/>
            <pc:sldMk cId="2136510916" sldId="2134803580"/>
            <ac:spMk id="521" creationId="{DF49CF02-6B58-4500-8BCB-D4CAC349084E}"/>
          </ac:spMkLst>
        </pc:spChg>
        <pc:spChg chg="mod">
          <ac:chgData name="Pierre Cavaroc" userId="150eff99-6aed-48f0-b13c-cabd0a4b3ac2" providerId="ADAL" clId="{E623609C-0EF4-4ECB-A655-127E285B354B}" dt="2021-03-21T23:02:53.691" v="6047" actId="27803"/>
          <ac:spMkLst>
            <pc:docMk/>
            <pc:sldMk cId="2136510916" sldId="2134803580"/>
            <ac:spMk id="522" creationId="{AF6781D3-0667-42BC-BD62-77A73FBE0DC2}"/>
          </ac:spMkLst>
        </pc:spChg>
        <pc:spChg chg="mod">
          <ac:chgData name="Pierre Cavaroc" userId="150eff99-6aed-48f0-b13c-cabd0a4b3ac2" providerId="ADAL" clId="{E623609C-0EF4-4ECB-A655-127E285B354B}" dt="2021-03-21T23:02:53.691" v="6047" actId="27803"/>
          <ac:spMkLst>
            <pc:docMk/>
            <pc:sldMk cId="2136510916" sldId="2134803580"/>
            <ac:spMk id="523" creationId="{F833FFEE-CB4F-4A40-AD93-6025AF155FAE}"/>
          </ac:spMkLst>
        </pc:spChg>
        <pc:spChg chg="mod">
          <ac:chgData name="Pierre Cavaroc" userId="150eff99-6aed-48f0-b13c-cabd0a4b3ac2" providerId="ADAL" clId="{E623609C-0EF4-4ECB-A655-127E285B354B}" dt="2021-03-21T23:02:53.691" v="6047" actId="27803"/>
          <ac:spMkLst>
            <pc:docMk/>
            <pc:sldMk cId="2136510916" sldId="2134803580"/>
            <ac:spMk id="524" creationId="{0C375ED1-AF9C-4843-AF3A-527092B48EBF}"/>
          </ac:spMkLst>
        </pc:spChg>
        <pc:spChg chg="mod">
          <ac:chgData name="Pierre Cavaroc" userId="150eff99-6aed-48f0-b13c-cabd0a4b3ac2" providerId="ADAL" clId="{E623609C-0EF4-4ECB-A655-127E285B354B}" dt="2021-03-21T23:02:53.691" v="6047" actId="27803"/>
          <ac:spMkLst>
            <pc:docMk/>
            <pc:sldMk cId="2136510916" sldId="2134803580"/>
            <ac:spMk id="525" creationId="{A5A36BB3-6FCB-4739-847A-C5749F74C7E2}"/>
          </ac:spMkLst>
        </pc:spChg>
        <pc:spChg chg="mod">
          <ac:chgData name="Pierre Cavaroc" userId="150eff99-6aed-48f0-b13c-cabd0a4b3ac2" providerId="ADAL" clId="{E623609C-0EF4-4ECB-A655-127E285B354B}" dt="2021-03-21T23:02:53.691" v="6047" actId="27803"/>
          <ac:spMkLst>
            <pc:docMk/>
            <pc:sldMk cId="2136510916" sldId="2134803580"/>
            <ac:spMk id="526" creationId="{256E63EC-907C-46E4-BFF3-56DA8116579C}"/>
          </ac:spMkLst>
        </pc:spChg>
        <pc:spChg chg="mod">
          <ac:chgData name="Pierre Cavaroc" userId="150eff99-6aed-48f0-b13c-cabd0a4b3ac2" providerId="ADAL" clId="{E623609C-0EF4-4ECB-A655-127E285B354B}" dt="2021-03-21T23:02:53.691" v="6047" actId="27803"/>
          <ac:spMkLst>
            <pc:docMk/>
            <pc:sldMk cId="2136510916" sldId="2134803580"/>
            <ac:spMk id="527" creationId="{D02080D1-E02E-4A52-9A1C-E6BCAA2442B5}"/>
          </ac:spMkLst>
        </pc:spChg>
        <pc:spChg chg="mod">
          <ac:chgData name="Pierre Cavaroc" userId="150eff99-6aed-48f0-b13c-cabd0a4b3ac2" providerId="ADAL" clId="{E623609C-0EF4-4ECB-A655-127E285B354B}" dt="2021-03-21T23:02:53.691" v="6047" actId="27803"/>
          <ac:spMkLst>
            <pc:docMk/>
            <pc:sldMk cId="2136510916" sldId="2134803580"/>
            <ac:spMk id="528" creationId="{CD08E482-FBA1-4879-AB7C-0C73F5EF7605}"/>
          </ac:spMkLst>
        </pc:spChg>
        <pc:spChg chg="mod">
          <ac:chgData name="Pierre Cavaroc" userId="150eff99-6aed-48f0-b13c-cabd0a4b3ac2" providerId="ADAL" clId="{E623609C-0EF4-4ECB-A655-127E285B354B}" dt="2021-03-21T23:02:53.691" v="6047" actId="27803"/>
          <ac:spMkLst>
            <pc:docMk/>
            <pc:sldMk cId="2136510916" sldId="2134803580"/>
            <ac:spMk id="529" creationId="{C787EF48-202A-4F02-9859-E90112904762}"/>
          </ac:spMkLst>
        </pc:spChg>
        <pc:spChg chg="mod">
          <ac:chgData name="Pierre Cavaroc" userId="150eff99-6aed-48f0-b13c-cabd0a4b3ac2" providerId="ADAL" clId="{E623609C-0EF4-4ECB-A655-127E285B354B}" dt="2021-03-21T23:02:53.691" v="6047" actId="27803"/>
          <ac:spMkLst>
            <pc:docMk/>
            <pc:sldMk cId="2136510916" sldId="2134803580"/>
            <ac:spMk id="530" creationId="{7368E10F-2F12-4E8B-9608-4F35A9F3ACF5}"/>
          </ac:spMkLst>
        </pc:spChg>
        <pc:spChg chg="mod">
          <ac:chgData name="Pierre Cavaroc" userId="150eff99-6aed-48f0-b13c-cabd0a4b3ac2" providerId="ADAL" clId="{E623609C-0EF4-4ECB-A655-127E285B354B}" dt="2021-03-21T23:02:53.691" v="6047" actId="27803"/>
          <ac:spMkLst>
            <pc:docMk/>
            <pc:sldMk cId="2136510916" sldId="2134803580"/>
            <ac:spMk id="531" creationId="{59293760-F232-4A5A-84E9-31B55FA74FA1}"/>
          </ac:spMkLst>
        </pc:spChg>
        <pc:spChg chg="mod">
          <ac:chgData name="Pierre Cavaroc" userId="150eff99-6aed-48f0-b13c-cabd0a4b3ac2" providerId="ADAL" clId="{E623609C-0EF4-4ECB-A655-127E285B354B}" dt="2021-03-21T23:02:53.691" v="6047" actId="27803"/>
          <ac:spMkLst>
            <pc:docMk/>
            <pc:sldMk cId="2136510916" sldId="2134803580"/>
            <ac:spMk id="532" creationId="{8264C46D-ABD6-44F6-86C3-6BED6AD7C167}"/>
          </ac:spMkLst>
        </pc:spChg>
        <pc:spChg chg="mod">
          <ac:chgData name="Pierre Cavaroc" userId="150eff99-6aed-48f0-b13c-cabd0a4b3ac2" providerId="ADAL" clId="{E623609C-0EF4-4ECB-A655-127E285B354B}" dt="2021-03-21T23:02:53.691" v="6047" actId="27803"/>
          <ac:spMkLst>
            <pc:docMk/>
            <pc:sldMk cId="2136510916" sldId="2134803580"/>
            <ac:spMk id="533" creationId="{931DB9DE-5375-4816-AA91-49258D82589B}"/>
          </ac:spMkLst>
        </pc:spChg>
        <pc:spChg chg="mod">
          <ac:chgData name="Pierre Cavaroc" userId="150eff99-6aed-48f0-b13c-cabd0a4b3ac2" providerId="ADAL" clId="{E623609C-0EF4-4ECB-A655-127E285B354B}" dt="2021-03-21T23:02:53.691" v="6047" actId="27803"/>
          <ac:spMkLst>
            <pc:docMk/>
            <pc:sldMk cId="2136510916" sldId="2134803580"/>
            <ac:spMk id="534" creationId="{15C3BA45-273E-4EE7-9118-A2612F0E8602}"/>
          </ac:spMkLst>
        </pc:spChg>
        <pc:spChg chg="mod">
          <ac:chgData name="Pierre Cavaroc" userId="150eff99-6aed-48f0-b13c-cabd0a4b3ac2" providerId="ADAL" clId="{E623609C-0EF4-4ECB-A655-127E285B354B}" dt="2021-03-21T23:02:53.691" v="6047" actId="27803"/>
          <ac:spMkLst>
            <pc:docMk/>
            <pc:sldMk cId="2136510916" sldId="2134803580"/>
            <ac:spMk id="535" creationId="{1608979E-27D9-4FC9-811C-CC91364281F9}"/>
          </ac:spMkLst>
        </pc:spChg>
        <pc:spChg chg="mod">
          <ac:chgData name="Pierre Cavaroc" userId="150eff99-6aed-48f0-b13c-cabd0a4b3ac2" providerId="ADAL" clId="{E623609C-0EF4-4ECB-A655-127E285B354B}" dt="2021-03-21T23:02:53.691" v="6047" actId="27803"/>
          <ac:spMkLst>
            <pc:docMk/>
            <pc:sldMk cId="2136510916" sldId="2134803580"/>
            <ac:spMk id="536" creationId="{ECEA14D7-E54E-41FB-9700-3FEF395916AC}"/>
          </ac:spMkLst>
        </pc:spChg>
        <pc:spChg chg="mod">
          <ac:chgData name="Pierre Cavaroc" userId="150eff99-6aed-48f0-b13c-cabd0a4b3ac2" providerId="ADAL" clId="{E623609C-0EF4-4ECB-A655-127E285B354B}" dt="2021-03-21T23:02:53.691" v="6047" actId="27803"/>
          <ac:spMkLst>
            <pc:docMk/>
            <pc:sldMk cId="2136510916" sldId="2134803580"/>
            <ac:spMk id="537" creationId="{804E0D10-BB25-48A5-A6E6-93835510D970}"/>
          </ac:spMkLst>
        </pc:spChg>
        <pc:spChg chg="mod">
          <ac:chgData name="Pierre Cavaroc" userId="150eff99-6aed-48f0-b13c-cabd0a4b3ac2" providerId="ADAL" clId="{E623609C-0EF4-4ECB-A655-127E285B354B}" dt="2021-03-21T23:02:53.691" v="6047" actId="27803"/>
          <ac:spMkLst>
            <pc:docMk/>
            <pc:sldMk cId="2136510916" sldId="2134803580"/>
            <ac:spMk id="538" creationId="{BD0AFA14-EFFA-4C62-A62E-405CE921FE32}"/>
          </ac:spMkLst>
        </pc:spChg>
        <pc:spChg chg="mod">
          <ac:chgData name="Pierre Cavaroc" userId="150eff99-6aed-48f0-b13c-cabd0a4b3ac2" providerId="ADAL" clId="{E623609C-0EF4-4ECB-A655-127E285B354B}" dt="2021-03-21T23:02:53.691" v="6047" actId="27803"/>
          <ac:spMkLst>
            <pc:docMk/>
            <pc:sldMk cId="2136510916" sldId="2134803580"/>
            <ac:spMk id="539" creationId="{88187DD5-406C-4EA3-98FC-99E90FBDA176}"/>
          </ac:spMkLst>
        </pc:spChg>
        <pc:spChg chg="mod">
          <ac:chgData name="Pierre Cavaroc" userId="150eff99-6aed-48f0-b13c-cabd0a4b3ac2" providerId="ADAL" clId="{E623609C-0EF4-4ECB-A655-127E285B354B}" dt="2021-03-21T23:02:53.691" v="6047" actId="27803"/>
          <ac:spMkLst>
            <pc:docMk/>
            <pc:sldMk cId="2136510916" sldId="2134803580"/>
            <ac:spMk id="540" creationId="{427613C9-EA13-4AA9-AF39-B893121F32E3}"/>
          </ac:spMkLst>
        </pc:spChg>
        <pc:spChg chg="mod">
          <ac:chgData name="Pierre Cavaroc" userId="150eff99-6aed-48f0-b13c-cabd0a4b3ac2" providerId="ADAL" clId="{E623609C-0EF4-4ECB-A655-127E285B354B}" dt="2021-03-21T23:02:53.691" v="6047" actId="27803"/>
          <ac:spMkLst>
            <pc:docMk/>
            <pc:sldMk cId="2136510916" sldId="2134803580"/>
            <ac:spMk id="541" creationId="{D0FDFCA9-8A7A-4EC3-B1D3-B19D0E0B4A5D}"/>
          </ac:spMkLst>
        </pc:spChg>
        <pc:spChg chg="mod">
          <ac:chgData name="Pierre Cavaroc" userId="150eff99-6aed-48f0-b13c-cabd0a4b3ac2" providerId="ADAL" clId="{E623609C-0EF4-4ECB-A655-127E285B354B}" dt="2021-03-21T23:02:53.691" v="6047" actId="27803"/>
          <ac:spMkLst>
            <pc:docMk/>
            <pc:sldMk cId="2136510916" sldId="2134803580"/>
            <ac:spMk id="542" creationId="{B3C86773-F9D0-453D-90D1-996355E01B08}"/>
          </ac:spMkLst>
        </pc:spChg>
        <pc:spChg chg="mod">
          <ac:chgData name="Pierre Cavaroc" userId="150eff99-6aed-48f0-b13c-cabd0a4b3ac2" providerId="ADAL" clId="{E623609C-0EF4-4ECB-A655-127E285B354B}" dt="2021-03-21T23:02:53.691" v="6047" actId="27803"/>
          <ac:spMkLst>
            <pc:docMk/>
            <pc:sldMk cId="2136510916" sldId="2134803580"/>
            <ac:spMk id="543" creationId="{052BC5FB-F496-4544-B970-77AA09E5B537}"/>
          </ac:spMkLst>
        </pc:spChg>
        <pc:spChg chg="mod">
          <ac:chgData name="Pierre Cavaroc" userId="150eff99-6aed-48f0-b13c-cabd0a4b3ac2" providerId="ADAL" clId="{E623609C-0EF4-4ECB-A655-127E285B354B}" dt="2021-03-21T23:02:53.691" v="6047" actId="27803"/>
          <ac:spMkLst>
            <pc:docMk/>
            <pc:sldMk cId="2136510916" sldId="2134803580"/>
            <ac:spMk id="544" creationId="{30ED0D1E-D1FA-4BCC-BD8C-DBA30219EEB7}"/>
          </ac:spMkLst>
        </pc:spChg>
        <pc:spChg chg="mod">
          <ac:chgData name="Pierre Cavaroc" userId="150eff99-6aed-48f0-b13c-cabd0a4b3ac2" providerId="ADAL" clId="{E623609C-0EF4-4ECB-A655-127E285B354B}" dt="2021-03-21T23:02:53.691" v="6047" actId="27803"/>
          <ac:spMkLst>
            <pc:docMk/>
            <pc:sldMk cId="2136510916" sldId="2134803580"/>
            <ac:spMk id="545" creationId="{BD2CA536-59CF-4FBD-B13F-847B790373B3}"/>
          </ac:spMkLst>
        </pc:spChg>
        <pc:spChg chg="mod">
          <ac:chgData name="Pierre Cavaroc" userId="150eff99-6aed-48f0-b13c-cabd0a4b3ac2" providerId="ADAL" clId="{E623609C-0EF4-4ECB-A655-127E285B354B}" dt="2021-03-21T23:02:53.691" v="6047" actId="27803"/>
          <ac:spMkLst>
            <pc:docMk/>
            <pc:sldMk cId="2136510916" sldId="2134803580"/>
            <ac:spMk id="546" creationId="{D240E2E0-0ADD-4B19-B6D0-8954B4F78C54}"/>
          </ac:spMkLst>
        </pc:spChg>
        <pc:spChg chg="mod">
          <ac:chgData name="Pierre Cavaroc" userId="150eff99-6aed-48f0-b13c-cabd0a4b3ac2" providerId="ADAL" clId="{E623609C-0EF4-4ECB-A655-127E285B354B}" dt="2021-03-21T23:02:53.691" v="6047" actId="27803"/>
          <ac:spMkLst>
            <pc:docMk/>
            <pc:sldMk cId="2136510916" sldId="2134803580"/>
            <ac:spMk id="547" creationId="{84BFA212-3992-4964-AFE7-33ED7CFEA035}"/>
          </ac:spMkLst>
        </pc:spChg>
        <pc:spChg chg="mod">
          <ac:chgData name="Pierre Cavaroc" userId="150eff99-6aed-48f0-b13c-cabd0a4b3ac2" providerId="ADAL" clId="{E623609C-0EF4-4ECB-A655-127E285B354B}" dt="2021-03-21T23:02:53.691" v="6047" actId="27803"/>
          <ac:spMkLst>
            <pc:docMk/>
            <pc:sldMk cId="2136510916" sldId="2134803580"/>
            <ac:spMk id="548" creationId="{ED82F860-D579-44A8-B1A1-398EFF3038F0}"/>
          </ac:spMkLst>
        </pc:spChg>
        <pc:spChg chg="mod">
          <ac:chgData name="Pierre Cavaroc" userId="150eff99-6aed-48f0-b13c-cabd0a4b3ac2" providerId="ADAL" clId="{E623609C-0EF4-4ECB-A655-127E285B354B}" dt="2021-03-21T23:02:53.691" v="6047" actId="27803"/>
          <ac:spMkLst>
            <pc:docMk/>
            <pc:sldMk cId="2136510916" sldId="2134803580"/>
            <ac:spMk id="549" creationId="{90E0986B-4F00-4064-8CE4-9157BF0637D0}"/>
          </ac:spMkLst>
        </pc:spChg>
        <pc:spChg chg="mod">
          <ac:chgData name="Pierre Cavaroc" userId="150eff99-6aed-48f0-b13c-cabd0a4b3ac2" providerId="ADAL" clId="{E623609C-0EF4-4ECB-A655-127E285B354B}" dt="2021-03-21T23:02:53.691" v="6047" actId="27803"/>
          <ac:spMkLst>
            <pc:docMk/>
            <pc:sldMk cId="2136510916" sldId="2134803580"/>
            <ac:spMk id="550" creationId="{B3A58B5D-9E9C-4F69-9281-9E52D1018DA0}"/>
          </ac:spMkLst>
        </pc:spChg>
        <pc:spChg chg="mod">
          <ac:chgData name="Pierre Cavaroc" userId="150eff99-6aed-48f0-b13c-cabd0a4b3ac2" providerId="ADAL" clId="{E623609C-0EF4-4ECB-A655-127E285B354B}" dt="2021-03-21T23:02:53.691" v="6047" actId="27803"/>
          <ac:spMkLst>
            <pc:docMk/>
            <pc:sldMk cId="2136510916" sldId="2134803580"/>
            <ac:spMk id="551" creationId="{F1016347-9E3A-4203-9CC8-437C6F772D56}"/>
          </ac:spMkLst>
        </pc:spChg>
        <pc:spChg chg="mod">
          <ac:chgData name="Pierre Cavaroc" userId="150eff99-6aed-48f0-b13c-cabd0a4b3ac2" providerId="ADAL" clId="{E623609C-0EF4-4ECB-A655-127E285B354B}" dt="2021-03-21T23:02:53.691" v="6047" actId="27803"/>
          <ac:spMkLst>
            <pc:docMk/>
            <pc:sldMk cId="2136510916" sldId="2134803580"/>
            <ac:spMk id="552" creationId="{FA6C5CCF-0713-4F49-8A9C-368419A8546D}"/>
          </ac:spMkLst>
        </pc:spChg>
        <pc:spChg chg="mod">
          <ac:chgData name="Pierre Cavaroc" userId="150eff99-6aed-48f0-b13c-cabd0a4b3ac2" providerId="ADAL" clId="{E623609C-0EF4-4ECB-A655-127E285B354B}" dt="2021-03-21T23:02:53.691" v="6047" actId="27803"/>
          <ac:spMkLst>
            <pc:docMk/>
            <pc:sldMk cId="2136510916" sldId="2134803580"/>
            <ac:spMk id="553" creationId="{536314A6-0AA8-4DAB-A2A6-FA96AA27DE6A}"/>
          </ac:spMkLst>
        </pc:spChg>
        <pc:spChg chg="mod">
          <ac:chgData name="Pierre Cavaroc" userId="150eff99-6aed-48f0-b13c-cabd0a4b3ac2" providerId="ADAL" clId="{E623609C-0EF4-4ECB-A655-127E285B354B}" dt="2021-03-21T23:02:53.691" v="6047" actId="27803"/>
          <ac:spMkLst>
            <pc:docMk/>
            <pc:sldMk cId="2136510916" sldId="2134803580"/>
            <ac:spMk id="554" creationId="{32FA5808-C722-4332-825F-0004043BFF3E}"/>
          </ac:spMkLst>
        </pc:spChg>
        <pc:spChg chg="mod">
          <ac:chgData name="Pierre Cavaroc" userId="150eff99-6aed-48f0-b13c-cabd0a4b3ac2" providerId="ADAL" clId="{E623609C-0EF4-4ECB-A655-127E285B354B}" dt="2021-03-21T23:02:53.691" v="6047" actId="27803"/>
          <ac:spMkLst>
            <pc:docMk/>
            <pc:sldMk cId="2136510916" sldId="2134803580"/>
            <ac:spMk id="555" creationId="{5D17C7AD-FB7E-4090-ADA6-FE82E74D561A}"/>
          </ac:spMkLst>
        </pc:spChg>
        <pc:spChg chg="mod">
          <ac:chgData name="Pierre Cavaroc" userId="150eff99-6aed-48f0-b13c-cabd0a4b3ac2" providerId="ADAL" clId="{E623609C-0EF4-4ECB-A655-127E285B354B}" dt="2021-03-21T23:02:53.691" v="6047" actId="27803"/>
          <ac:spMkLst>
            <pc:docMk/>
            <pc:sldMk cId="2136510916" sldId="2134803580"/>
            <ac:spMk id="556" creationId="{8B71FBAC-5199-44A7-A59B-09229667E9FD}"/>
          </ac:spMkLst>
        </pc:spChg>
        <pc:spChg chg="mod">
          <ac:chgData name="Pierre Cavaroc" userId="150eff99-6aed-48f0-b13c-cabd0a4b3ac2" providerId="ADAL" clId="{E623609C-0EF4-4ECB-A655-127E285B354B}" dt="2021-03-21T23:02:53.691" v="6047" actId="27803"/>
          <ac:spMkLst>
            <pc:docMk/>
            <pc:sldMk cId="2136510916" sldId="2134803580"/>
            <ac:spMk id="557" creationId="{5BCCCB70-74C6-4933-A946-C6F97254AE3F}"/>
          </ac:spMkLst>
        </pc:spChg>
        <pc:spChg chg="mod">
          <ac:chgData name="Pierre Cavaroc" userId="150eff99-6aed-48f0-b13c-cabd0a4b3ac2" providerId="ADAL" clId="{E623609C-0EF4-4ECB-A655-127E285B354B}" dt="2021-03-21T23:02:53.691" v="6047" actId="27803"/>
          <ac:spMkLst>
            <pc:docMk/>
            <pc:sldMk cId="2136510916" sldId="2134803580"/>
            <ac:spMk id="558" creationId="{50D49D98-C053-4BB2-B6C5-08F20E6B7E29}"/>
          </ac:spMkLst>
        </pc:spChg>
        <pc:spChg chg="mod">
          <ac:chgData name="Pierre Cavaroc" userId="150eff99-6aed-48f0-b13c-cabd0a4b3ac2" providerId="ADAL" clId="{E623609C-0EF4-4ECB-A655-127E285B354B}" dt="2021-03-21T23:02:53.691" v="6047" actId="27803"/>
          <ac:spMkLst>
            <pc:docMk/>
            <pc:sldMk cId="2136510916" sldId="2134803580"/>
            <ac:spMk id="559" creationId="{A56B7265-9300-46C4-8156-3F07EE987C01}"/>
          </ac:spMkLst>
        </pc:spChg>
        <pc:spChg chg="mod">
          <ac:chgData name="Pierre Cavaroc" userId="150eff99-6aed-48f0-b13c-cabd0a4b3ac2" providerId="ADAL" clId="{E623609C-0EF4-4ECB-A655-127E285B354B}" dt="2021-03-21T23:02:53.691" v="6047" actId="27803"/>
          <ac:spMkLst>
            <pc:docMk/>
            <pc:sldMk cId="2136510916" sldId="2134803580"/>
            <ac:spMk id="560" creationId="{4B9124DB-3C37-4955-997A-AC3C64ADF144}"/>
          </ac:spMkLst>
        </pc:spChg>
        <pc:spChg chg="mod">
          <ac:chgData name="Pierre Cavaroc" userId="150eff99-6aed-48f0-b13c-cabd0a4b3ac2" providerId="ADAL" clId="{E623609C-0EF4-4ECB-A655-127E285B354B}" dt="2021-03-21T23:02:53.691" v="6047" actId="27803"/>
          <ac:spMkLst>
            <pc:docMk/>
            <pc:sldMk cId="2136510916" sldId="2134803580"/>
            <ac:spMk id="561" creationId="{23EDC7FB-9CA6-4556-9C37-D32A3BAB9052}"/>
          </ac:spMkLst>
        </pc:spChg>
        <pc:spChg chg="mod">
          <ac:chgData name="Pierre Cavaroc" userId="150eff99-6aed-48f0-b13c-cabd0a4b3ac2" providerId="ADAL" clId="{E623609C-0EF4-4ECB-A655-127E285B354B}" dt="2021-03-21T23:02:53.691" v="6047" actId="27803"/>
          <ac:spMkLst>
            <pc:docMk/>
            <pc:sldMk cId="2136510916" sldId="2134803580"/>
            <ac:spMk id="562" creationId="{F59C9AAF-AECA-4135-B93B-76FCEF6DFCD3}"/>
          </ac:spMkLst>
        </pc:spChg>
        <pc:spChg chg="mod">
          <ac:chgData name="Pierre Cavaroc" userId="150eff99-6aed-48f0-b13c-cabd0a4b3ac2" providerId="ADAL" clId="{E623609C-0EF4-4ECB-A655-127E285B354B}" dt="2021-03-21T23:02:53.691" v="6047" actId="27803"/>
          <ac:spMkLst>
            <pc:docMk/>
            <pc:sldMk cId="2136510916" sldId="2134803580"/>
            <ac:spMk id="563" creationId="{F5F06186-FA0A-4D67-AC93-896B68328500}"/>
          </ac:spMkLst>
        </pc:spChg>
        <pc:spChg chg="mod">
          <ac:chgData name="Pierre Cavaroc" userId="150eff99-6aed-48f0-b13c-cabd0a4b3ac2" providerId="ADAL" clId="{E623609C-0EF4-4ECB-A655-127E285B354B}" dt="2021-03-21T23:02:53.691" v="6047" actId="27803"/>
          <ac:spMkLst>
            <pc:docMk/>
            <pc:sldMk cId="2136510916" sldId="2134803580"/>
            <ac:spMk id="564" creationId="{97A082FD-9155-43A6-B79F-002A0CDE667D}"/>
          </ac:spMkLst>
        </pc:spChg>
        <pc:spChg chg="mod">
          <ac:chgData name="Pierre Cavaroc" userId="150eff99-6aed-48f0-b13c-cabd0a4b3ac2" providerId="ADAL" clId="{E623609C-0EF4-4ECB-A655-127E285B354B}" dt="2021-03-21T23:02:53.691" v="6047" actId="27803"/>
          <ac:spMkLst>
            <pc:docMk/>
            <pc:sldMk cId="2136510916" sldId="2134803580"/>
            <ac:spMk id="565" creationId="{0FC4BC97-A3C9-4809-BF7C-6A0636C4438E}"/>
          </ac:spMkLst>
        </pc:spChg>
        <pc:spChg chg="mod">
          <ac:chgData name="Pierre Cavaroc" userId="150eff99-6aed-48f0-b13c-cabd0a4b3ac2" providerId="ADAL" clId="{E623609C-0EF4-4ECB-A655-127E285B354B}" dt="2021-03-21T23:02:53.691" v="6047" actId="27803"/>
          <ac:spMkLst>
            <pc:docMk/>
            <pc:sldMk cId="2136510916" sldId="2134803580"/>
            <ac:spMk id="566" creationId="{68F0ACE0-BEBD-4BB0-810B-765FBC2F4BA1}"/>
          </ac:spMkLst>
        </pc:spChg>
        <pc:spChg chg="mod">
          <ac:chgData name="Pierre Cavaroc" userId="150eff99-6aed-48f0-b13c-cabd0a4b3ac2" providerId="ADAL" clId="{E623609C-0EF4-4ECB-A655-127E285B354B}" dt="2021-03-21T23:02:53.691" v="6047" actId="27803"/>
          <ac:spMkLst>
            <pc:docMk/>
            <pc:sldMk cId="2136510916" sldId="2134803580"/>
            <ac:spMk id="567" creationId="{5E712F3F-93DF-4367-900F-ACEDD4196F6B}"/>
          </ac:spMkLst>
        </pc:spChg>
        <pc:spChg chg="mod">
          <ac:chgData name="Pierre Cavaroc" userId="150eff99-6aed-48f0-b13c-cabd0a4b3ac2" providerId="ADAL" clId="{E623609C-0EF4-4ECB-A655-127E285B354B}" dt="2021-03-21T23:02:53.691" v="6047" actId="27803"/>
          <ac:spMkLst>
            <pc:docMk/>
            <pc:sldMk cId="2136510916" sldId="2134803580"/>
            <ac:spMk id="568" creationId="{98F05D31-2826-4608-95E8-9A0A67DA0DB0}"/>
          </ac:spMkLst>
        </pc:spChg>
        <pc:spChg chg="mod">
          <ac:chgData name="Pierre Cavaroc" userId="150eff99-6aed-48f0-b13c-cabd0a4b3ac2" providerId="ADAL" clId="{E623609C-0EF4-4ECB-A655-127E285B354B}" dt="2021-03-21T23:02:53.691" v="6047" actId="27803"/>
          <ac:spMkLst>
            <pc:docMk/>
            <pc:sldMk cId="2136510916" sldId="2134803580"/>
            <ac:spMk id="569" creationId="{C8B654BB-00E3-4575-A08A-737319CD8B24}"/>
          </ac:spMkLst>
        </pc:spChg>
        <pc:spChg chg="mod">
          <ac:chgData name="Pierre Cavaroc" userId="150eff99-6aed-48f0-b13c-cabd0a4b3ac2" providerId="ADAL" clId="{E623609C-0EF4-4ECB-A655-127E285B354B}" dt="2021-03-21T23:02:53.691" v="6047" actId="27803"/>
          <ac:spMkLst>
            <pc:docMk/>
            <pc:sldMk cId="2136510916" sldId="2134803580"/>
            <ac:spMk id="570" creationId="{4E5D5D87-C9BF-41D6-9E46-2A00E817DA7B}"/>
          </ac:spMkLst>
        </pc:spChg>
        <pc:spChg chg="mod">
          <ac:chgData name="Pierre Cavaroc" userId="150eff99-6aed-48f0-b13c-cabd0a4b3ac2" providerId="ADAL" clId="{E623609C-0EF4-4ECB-A655-127E285B354B}" dt="2021-03-21T23:02:53.691" v="6047" actId="27803"/>
          <ac:spMkLst>
            <pc:docMk/>
            <pc:sldMk cId="2136510916" sldId="2134803580"/>
            <ac:spMk id="571" creationId="{31C99D27-9EE6-4B63-9FB5-1BF77C6DB905}"/>
          </ac:spMkLst>
        </pc:spChg>
        <pc:spChg chg="mod">
          <ac:chgData name="Pierre Cavaroc" userId="150eff99-6aed-48f0-b13c-cabd0a4b3ac2" providerId="ADAL" clId="{E623609C-0EF4-4ECB-A655-127E285B354B}" dt="2021-03-21T23:02:53.691" v="6047" actId="27803"/>
          <ac:spMkLst>
            <pc:docMk/>
            <pc:sldMk cId="2136510916" sldId="2134803580"/>
            <ac:spMk id="572" creationId="{59B7C4B4-95DA-48C2-9FEA-E0A648FFDB78}"/>
          </ac:spMkLst>
        </pc:spChg>
        <pc:spChg chg="mod">
          <ac:chgData name="Pierre Cavaroc" userId="150eff99-6aed-48f0-b13c-cabd0a4b3ac2" providerId="ADAL" clId="{E623609C-0EF4-4ECB-A655-127E285B354B}" dt="2021-03-21T23:02:53.691" v="6047" actId="27803"/>
          <ac:spMkLst>
            <pc:docMk/>
            <pc:sldMk cId="2136510916" sldId="2134803580"/>
            <ac:spMk id="573" creationId="{9E88FD4F-57BA-45EF-8FC4-661215881852}"/>
          </ac:spMkLst>
        </pc:spChg>
        <pc:spChg chg="mod">
          <ac:chgData name="Pierre Cavaroc" userId="150eff99-6aed-48f0-b13c-cabd0a4b3ac2" providerId="ADAL" clId="{E623609C-0EF4-4ECB-A655-127E285B354B}" dt="2021-03-21T23:02:53.691" v="6047" actId="27803"/>
          <ac:spMkLst>
            <pc:docMk/>
            <pc:sldMk cId="2136510916" sldId="2134803580"/>
            <ac:spMk id="574" creationId="{A80D5B11-2295-4D7E-9185-3FD23E085ECD}"/>
          </ac:spMkLst>
        </pc:spChg>
        <pc:spChg chg="mod">
          <ac:chgData name="Pierre Cavaroc" userId="150eff99-6aed-48f0-b13c-cabd0a4b3ac2" providerId="ADAL" clId="{E623609C-0EF4-4ECB-A655-127E285B354B}" dt="2021-03-21T23:02:53.691" v="6047" actId="27803"/>
          <ac:spMkLst>
            <pc:docMk/>
            <pc:sldMk cId="2136510916" sldId="2134803580"/>
            <ac:spMk id="575" creationId="{E0F40D22-6FCF-4562-B923-FC5B729295B8}"/>
          </ac:spMkLst>
        </pc:spChg>
        <pc:spChg chg="mod">
          <ac:chgData name="Pierre Cavaroc" userId="150eff99-6aed-48f0-b13c-cabd0a4b3ac2" providerId="ADAL" clId="{E623609C-0EF4-4ECB-A655-127E285B354B}" dt="2021-03-21T23:02:53.691" v="6047" actId="27803"/>
          <ac:spMkLst>
            <pc:docMk/>
            <pc:sldMk cId="2136510916" sldId="2134803580"/>
            <ac:spMk id="576" creationId="{06320F1F-52A8-4E12-AD9F-412F689B9984}"/>
          </ac:spMkLst>
        </pc:spChg>
        <pc:spChg chg="mod">
          <ac:chgData name="Pierre Cavaroc" userId="150eff99-6aed-48f0-b13c-cabd0a4b3ac2" providerId="ADAL" clId="{E623609C-0EF4-4ECB-A655-127E285B354B}" dt="2021-03-21T23:02:53.691" v="6047" actId="27803"/>
          <ac:spMkLst>
            <pc:docMk/>
            <pc:sldMk cId="2136510916" sldId="2134803580"/>
            <ac:spMk id="577" creationId="{0C81F7E2-7D3C-4FA5-874E-25FC98062F19}"/>
          </ac:spMkLst>
        </pc:spChg>
        <pc:spChg chg="mod">
          <ac:chgData name="Pierre Cavaroc" userId="150eff99-6aed-48f0-b13c-cabd0a4b3ac2" providerId="ADAL" clId="{E623609C-0EF4-4ECB-A655-127E285B354B}" dt="2021-03-21T23:02:53.691" v="6047" actId="27803"/>
          <ac:spMkLst>
            <pc:docMk/>
            <pc:sldMk cId="2136510916" sldId="2134803580"/>
            <ac:spMk id="578" creationId="{DE80EB8A-E1EC-47D9-BBDD-A280357109CC}"/>
          </ac:spMkLst>
        </pc:spChg>
        <pc:spChg chg="mod">
          <ac:chgData name="Pierre Cavaroc" userId="150eff99-6aed-48f0-b13c-cabd0a4b3ac2" providerId="ADAL" clId="{E623609C-0EF4-4ECB-A655-127E285B354B}" dt="2021-03-21T23:02:53.691" v="6047" actId="27803"/>
          <ac:spMkLst>
            <pc:docMk/>
            <pc:sldMk cId="2136510916" sldId="2134803580"/>
            <ac:spMk id="579" creationId="{FA13043E-FD24-48A9-B653-E39CD9B05472}"/>
          </ac:spMkLst>
        </pc:spChg>
        <pc:spChg chg="mod">
          <ac:chgData name="Pierre Cavaroc" userId="150eff99-6aed-48f0-b13c-cabd0a4b3ac2" providerId="ADAL" clId="{E623609C-0EF4-4ECB-A655-127E285B354B}" dt="2021-03-21T23:02:53.691" v="6047" actId="27803"/>
          <ac:spMkLst>
            <pc:docMk/>
            <pc:sldMk cId="2136510916" sldId="2134803580"/>
            <ac:spMk id="580" creationId="{3E2409BE-3B97-4BC4-A474-C4F1FD84EA03}"/>
          </ac:spMkLst>
        </pc:spChg>
        <pc:spChg chg="mod">
          <ac:chgData name="Pierre Cavaroc" userId="150eff99-6aed-48f0-b13c-cabd0a4b3ac2" providerId="ADAL" clId="{E623609C-0EF4-4ECB-A655-127E285B354B}" dt="2021-03-21T23:02:53.691" v="6047" actId="27803"/>
          <ac:spMkLst>
            <pc:docMk/>
            <pc:sldMk cId="2136510916" sldId="2134803580"/>
            <ac:spMk id="581" creationId="{70D7AA16-5313-4841-8908-FCEC8C422802}"/>
          </ac:spMkLst>
        </pc:spChg>
        <pc:spChg chg="mod">
          <ac:chgData name="Pierre Cavaroc" userId="150eff99-6aed-48f0-b13c-cabd0a4b3ac2" providerId="ADAL" clId="{E623609C-0EF4-4ECB-A655-127E285B354B}" dt="2021-03-21T23:02:53.691" v="6047" actId="27803"/>
          <ac:spMkLst>
            <pc:docMk/>
            <pc:sldMk cId="2136510916" sldId="2134803580"/>
            <ac:spMk id="582" creationId="{22C1266F-DA28-4790-B309-E4EB8EEE19A0}"/>
          </ac:spMkLst>
        </pc:spChg>
        <pc:spChg chg="mod">
          <ac:chgData name="Pierre Cavaroc" userId="150eff99-6aed-48f0-b13c-cabd0a4b3ac2" providerId="ADAL" clId="{E623609C-0EF4-4ECB-A655-127E285B354B}" dt="2021-03-21T23:02:53.691" v="6047" actId="27803"/>
          <ac:spMkLst>
            <pc:docMk/>
            <pc:sldMk cId="2136510916" sldId="2134803580"/>
            <ac:spMk id="583" creationId="{8AC632BD-1D59-47FD-9459-9EC5153D880C}"/>
          </ac:spMkLst>
        </pc:spChg>
        <pc:spChg chg="mod">
          <ac:chgData name="Pierre Cavaroc" userId="150eff99-6aed-48f0-b13c-cabd0a4b3ac2" providerId="ADAL" clId="{E623609C-0EF4-4ECB-A655-127E285B354B}" dt="2021-03-21T23:02:53.691" v="6047" actId="27803"/>
          <ac:spMkLst>
            <pc:docMk/>
            <pc:sldMk cId="2136510916" sldId="2134803580"/>
            <ac:spMk id="584" creationId="{0B6CEE45-701B-4C55-ADAC-B59EE9D1C149}"/>
          </ac:spMkLst>
        </pc:spChg>
        <pc:spChg chg="mod">
          <ac:chgData name="Pierre Cavaroc" userId="150eff99-6aed-48f0-b13c-cabd0a4b3ac2" providerId="ADAL" clId="{E623609C-0EF4-4ECB-A655-127E285B354B}" dt="2021-03-21T23:02:53.691" v="6047" actId="27803"/>
          <ac:spMkLst>
            <pc:docMk/>
            <pc:sldMk cId="2136510916" sldId="2134803580"/>
            <ac:spMk id="585" creationId="{A668CB38-9D24-409F-A73B-43CC0B9A631B}"/>
          </ac:spMkLst>
        </pc:spChg>
        <pc:spChg chg="mod">
          <ac:chgData name="Pierre Cavaroc" userId="150eff99-6aed-48f0-b13c-cabd0a4b3ac2" providerId="ADAL" clId="{E623609C-0EF4-4ECB-A655-127E285B354B}" dt="2021-03-21T23:02:53.691" v="6047" actId="27803"/>
          <ac:spMkLst>
            <pc:docMk/>
            <pc:sldMk cId="2136510916" sldId="2134803580"/>
            <ac:spMk id="586" creationId="{ABBC4218-CD4D-453B-976F-70C6551D3240}"/>
          </ac:spMkLst>
        </pc:spChg>
        <pc:spChg chg="mod">
          <ac:chgData name="Pierre Cavaroc" userId="150eff99-6aed-48f0-b13c-cabd0a4b3ac2" providerId="ADAL" clId="{E623609C-0EF4-4ECB-A655-127E285B354B}" dt="2021-03-21T23:02:53.691" v="6047" actId="27803"/>
          <ac:spMkLst>
            <pc:docMk/>
            <pc:sldMk cId="2136510916" sldId="2134803580"/>
            <ac:spMk id="587" creationId="{F666AFA5-B8EF-4160-9689-5A7CB01EA7D1}"/>
          </ac:spMkLst>
        </pc:spChg>
        <pc:spChg chg="mod">
          <ac:chgData name="Pierre Cavaroc" userId="150eff99-6aed-48f0-b13c-cabd0a4b3ac2" providerId="ADAL" clId="{E623609C-0EF4-4ECB-A655-127E285B354B}" dt="2021-03-21T23:02:53.691" v="6047" actId="27803"/>
          <ac:spMkLst>
            <pc:docMk/>
            <pc:sldMk cId="2136510916" sldId="2134803580"/>
            <ac:spMk id="588" creationId="{557494E7-81B8-415C-BB6E-0C68BAD5D7EB}"/>
          </ac:spMkLst>
        </pc:spChg>
        <pc:spChg chg="mod">
          <ac:chgData name="Pierre Cavaroc" userId="150eff99-6aed-48f0-b13c-cabd0a4b3ac2" providerId="ADAL" clId="{E623609C-0EF4-4ECB-A655-127E285B354B}" dt="2021-03-21T23:02:53.691" v="6047" actId="27803"/>
          <ac:spMkLst>
            <pc:docMk/>
            <pc:sldMk cId="2136510916" sldId="2134803580"/>
            <ac:spMk id="589" creationId="{C69DF6D9-6681-443A-8EDA-A10733221A6A}"/>
          </ac:spMkLst>
        </pc:spChg>
        <pc:spChg chg="mod">
          <ac:chgData name="Pierre Cavaroc" userId="150eff99-6aed-48f0-b13c-cabd0a4b3ac2" providerId="ADAL" clId="{E623609C-0EF4-4ECB-A655-127E285B354B}" dt="2021-03-21T23:02:53.691" v="6047" actId="27803"/>
          <ac:spMkLst>
            <pc:docMk/>
            <pc:sldMk cId="2136510916" sldId="2134803580"/>
            <ac:spMk id="590" creationId="{29FB1D39-7BA4-40C2-AE92-B04DF9879620}"/>
          </ac:spMkLst>
        </pc:spChg>
        <pc:spChg chg="mod">
          <ac:chgData name="Pierre Cavaroc" userId="150eff99-6aed-48f0-b13c-cabd0a4b3ac2" providerId="ADAL" clId="{E623609C-0EF4-4ECB-A655-127E285B354B}" dt="2021-03-21T23:02:53.691" v="6047" actId="27803"/>
          <ac:spMkLst>
            <pc:docMk/>
            <pc:sldMk cId="2136510916" sldId="2134803580"/>
            <ac:spMk id="591" creationId="{2C3240EF-BADD-4979-BC17-BF9D6036105D}"/>
          </ac:spMkLst>
        </pc:spChg>
        <pc:spChg chg="mod">
          <ac:chgData name="Pierre Cavaroc" userId="150eff99-6aed-48f0-b13c-cabd0a4b3ac2" providerId="ADAL" clId="{E623609C-0EF4-4ECB-A655-127E285B354B}" dt="2021-03-21T23:02:53.691" v="6047" actId="27803"/>
          <ac:spMkLst>
            <pc:docMk/>
            <pc:sldMk cId="2136510916" sldId="2134803580"/>
            <ac:spMk id="592" creationId="{DB9C4153-245E-4BDC-B347-4A6DCB8FCF4A}"/>
          </ac:spMkLst>
        </pc:spChg>
        <pc:spChg chg="mod">
          <ac:chgData name="Pierre Cavaroc" userId="150eff99-6aed-48f0-b13c-cabd0a4b3ac2" providerId="ADAL" clId="{E623609C-0EF4-4ECB-A655-127E285B354B}" dt="2021-03-21T23:02:53.691" v="6047" actId="27803"/>
          <ac:spMkLst>
            <pc:docMk/>
            <pc:sldMk cId="2136510916" sldId="2134803580"/>
            <ac:spMk id="593" creationId="{5F91322F-F6DA-4BA5-995F-2693DDFECE9F}"/>
          </ac:spMkLst>
        </pc:spChg>
        <pc:spChg chg="mod">
          <ac:chgData name="Pierre Cavaroc" userId="150eff99-6aed-48f0-b13c-cabd0a4b3ac2" providerId="ADAL" clId="{E623609C-0EF4-4ECB-A655-127E285B354B}" dt="2021-03-21T23:02:53.691" v="6047" actId="27803"/>
          <ac:spMkLst>
            <pc:docMk/>
            <pc:sldMk cId="2136510916" sldId="2134803580"/>
            <ac:spMk id="594" creationId="{B06F4DEB-B7F0-41CA-A519-8804DF4AB4CC}"/>
          </ac:spMkLst>
        </pc:spChg>
        <pc:spChg chg="mod">
          <ac:chgData name="Pierre Cavaroc" userId="150eff99-6aed-48f0-b13c-cabd0a4b3ac2" providerId="ADAL" clId="{E623609C-0EF4-4ECB-A655-127E285B354B}" dt="2021-03-21T23:02:53.691" v="6047" actId="27803"/>
          <ac:spMkLst>
            <pc:docMk/>
            <pc:sldMk cId="2136510916" sldId="2134803580"/>
            <ac:spMk id="595" creationId="{5C657E09-7058-48B9-B2D0-7C705496A3AA}"/>
          </ac:spMkLst>
        </pc:spChg>
        <pc:spChg chg="mod">
          <ac:chgData name="Pierre Cavaroc" userId="150eff99-6aed-48f0-b13c-cabd0a4b3ac2" providerId="ADAL" clId="{E623609C-0EF4-4ECB-A655-127E285B354B}" dt="2021-03-21T23:02:53.691" v="6047" actId="27803"/>
          <ac:spMkLst>
            <pc:docMk/>
            <pc:sldMk cId="2136510916" sldId="2134803580"/>
            <ac:spMk id="596" creationId="{FCA242EC-A5BC-4717-9880-7F39B1719730}"/>
          </ac:spMkLst>
        </pc:spChg>
        <pc:spChg chg="mod">
          <ac:chgData name="Pierre Cavaroc" userId="150eff99-6aed-48f0-b13c-cabd0a4b3ac2" providerId="ADAL" clId="{E623609C-0EF4-4ECB-A655-127E285B354B}" dt="2021-03-21T23:02:53.691" v="6047" actId="27803"/>
          <ac:spMkLst>
            <pc:docMk/>
            <pc:sldMk cId="2136510916" sldId="2134803580"/>
            <ac:spMk id="597" creationId="{A9C8658D-671F-41D5-BF35-848FBA245BAE}"/>
          </ac:spMkLst>
        </pc:spChg>
        <pc:spChg chg="mod">
          <ac:chgData name="Pierre Cavaroc" userId="150eff99-6aed-48f0-b13c-cabd0a4b3ac2" providerId="ADAL" clId="{E623609C-0EF4-4ECB-A655-127E285B354B}" dt="2021-03-21T23:02:53.691" v="6047" actId="27803"/>
          <ac:spMkLst>
            <pc:docMk/>
            <pc:sldMk cId="2136510916" sldId="2134803580"/>
            <ac:spMk id="598" creationId="{77B9512E-B8CD-40F7-88FB-D60DCB993C8F}"/>
          </ac:spMkLst>
        </pc:spChg>
        <pc:spChg chg="mod">
          <ac:chgData name="Pierre Cavaroc" userId="150eff99-6aed-48f0-b13c-cabd0a4b3ac2" providerId="ADAL" clId="{E623609C-0EF4-4ECB-A655-127E285B354B}" dt="2021-03-21T23:02:53.691" v="6047" actId="27803"/>
          <ac:spMkLst>
            <pc:docMk/>
            <pc:sldMk cId="2136510916" sldId="2134803580"/>
            <ac:spMk id="599" creationId="{E118073D-603A-4EB6-9E8C-36AE732681BD}"/>
          </ac:spMkLst>
        </pc:spChg>
        <pc:spChg chg="mod">
          <ac:chgData name="Pierre Cavaroc" userId="150eff99-6aed-48f0-b13c-cabd0a4b3ac2" providerId="ADAL" clId="{E623609C-0EF4-4ECB-A655-127E285B354B}" dt="2021-03-21T23:02:53.691" v="6047" actId="27803"/>
          <ac:spMkLst>
            <pc:docMk/>
            <pc:sldMk cId="2136510916" sldId="2134803580"/>
            <ac:spMk id="600" creationId="{A47C7C69-9A8C-46AB-928A-001E59610FB1}"/>
          </ac:spMkLst>
        </pc:spChg>
        <pc:spChg chg="mod">
          <ac:chgData name="Pierre Cavaroc" userId="150eff99-6aed-48f0-b13c-cabd0a4b3ac2" providerId="ADAL" clId="{E623609C-0EF4-4ECB-A655-127E285B354B}" dt="2021-03-21T23:02:53.691" v="6047" actId="27803"/>
          <ac:spMkLst>
            <pc:docMk/>
            <pc:sldMk cId="2136510916" sldId="2134803580"/>
            <ac:spMk id="601" creationId="{E0C9D146-1C6D-41D1-9525-711254A0084E}"/>
          </ac:spMkLst>
        </pc:spChg>
        <pc:spChg chg="mod">
          <ac:chgData name="Pierre Cavaroc" userId="150eff99-6aed-48f0-b13c-cabd0a4b3ac2" providerId="ADAL" clId="{E623609C-0EF4-4ECB-A655-127E285B354B}" dt="2021-03-21T23:02:53.691" v="6047" actId="27803"/>
          <ac:spMkLst>
            <pc:docMk/>
            <pc:sldMk cId="2136510916" sldId="2134803580"/>
            <ac:spMk id="602" creationId="{89B3EE88-C946-4EFE-8A0A-6DDEC6BB6829}"/>
          </ac:spMkLst>
        </pc:spChg>
        <pc:spChg chg="mod">
          <ac:chgData name="Pierre Cavaroc" userId="150eff99-6aed-48f0-b13c-cabd0a4b3ac2" providerId="ADAL" clId="{E623609C-0EF4-4ECB-A655-127E285B354B}" dt="2021-03-21T23:02:53.691" v="6047" actId="27803"/>
          <ac:spMkLst>
            <pc:docMk/>
            <pc:sldMk cId="2136510916" sldId="2134803580"/>
            <ac:spMk id="603" creationId="{35C42CB0-8AD1-4189-ADB2-02FFF89B855B}"/>
          </ac:spMkLst>
        </pc:spChg>
        <pc:spChg chg="mod">
          <ac:chgData name="Pierre Cavaroc" userId="150eff99-6aed-48f0-b13c-cabd0a4b3ac2" providerId="ADAL" clId="{E623609C-0EF4-4ECB-A655-127E285B354B}" dt="2021-03-21T23:02:53.691" v="6047" actId="27803"/>
          <ac:spMkLst>
            <pc:docMk/>
            <pc:sldMk cId="2136510916" sldId="2134803580"/>
            <ac:spMk id="604" creationId="{3842CA1B-43BB-43F1-9CE0-35D074AFD023}"/>
          </ac:spMkLst>
        </pc:spChg>
        <pc:spChg chg="mod">
          <ac:chgData name="Pierre Cavaroc" userId="150eff99-6aed-48f0-b13c-cabd0a4b3ac2" providerId="ADAL" clId="{E623609C-0EF4-4ECB-A655-127E285B354B}" dt="2021-03-21T23:02:53.691" v="6047" actId="27803"/>
          <ac:spMkLst>
            <pc:docMk/>
            <pc:sldMk cId="2136510916" sldId="2134803580"/>
            <ac:spMk id="605" creationId="{BD9DFE28-F9B2-435A-87C9-42C46C5D2483}"/>
          </ac:spMkLst>
        </pc:spChg>
        <pc:spChg chg="mod">
          <ac:chgData name="Pierre Cavaroc" userId="150eff99-6aed-48f0-b13c-cabd0a4b3ac2" providerId="ADAL" clId="{E623609C-0EF4-4ECB-A655-127E285B354B}" dt="2021-03-21T23:02:53.691" v="6047" actId="27803"/>
          <ac:spMkLst>
            <pc:docMk/>
            <pc:sldMk cId="2136510916" sldId="2134803580"/>
            <ac:spMk id="606" creationId="{2AF734DB-6AF3-4C5A-BCCE-DB68DC34A26F}"/>
          </ac:spMkLst>
        </pc:spChg>
        <pc:spChg chg="mod">
          <ac:chgData name="Pierre Cavaroc" userId="150eff99-6aed-48f0-b13c-cabd0a4b3ac2" providerId="ADAL" clId="{E623609C-0EF4-4ECB-A655-127E285B354B}" dt="2021-03-21T23:02:53.691" v="6047" actId="27803"/>
          <ac:spMkLst>
            <pc:docMk/>
            <pc:sldMk cId="2136510916" sldId="2134803580"/>
            <ac:spMk id="607" creationId="{3E6E0FAD-6276-48D7-A903-8C12E5006D53}"/>
          </ac:spMkLst>
        </pc:spChg>
        <pc:spChg chg="mod">
          <ac:chgData name="Pierre Cavaroc" userId="150eff99-6aed-48f0-b13c-cabd0a4b3ac2" providerId="ADAL" clId="{E623609C-0EF4-4ECB-A655-127E285B354B}" dt="2021-03-21T23:02:53.691" v="6047" actId="27803"/>
          <ac:spMkLst>
            <pc:docMk/>
            <pc:sldMk cId="2136510916" sldId="2134803580"/>
            <ac:spMk id="608" creationId="{FDB55DFA-A895-4F6E-AA5D-848BCADCF086}"/>
          </ac:spMkLst>
        </pc:spChg>
        <pc:spChg chg="mod">
          <ac:chgData name="Pierre Cavaroc" userId="150eff99-6aed-48f0-b13c-cabd0a4b3ac2" providerId="ADAL" clId="{E623609C-0EF4-4ECB-A655-127E285B354B}" dt="2021-03-21T23:02:53.691" v="6047" actId="27803"/>
          <ac:spMkLst>
            <pc:docMk/>
            <pc:sldMk cId="2136510916" sldId="2134803580"/>
            <ac:spMk id="609" creationId="{9F5F42C5-062C-4B97-AE29-F333562C9DC2}"/>
          </ac:spMkLst>
        </pc:spChg>
        <pc:spChg chg="mod">
          <ac:chgData name="Pierre Cavaroc" userId="150eff99-6aed-48f0-b13c-cabd0a4b3ac2" providerId="ADAL" clId="{E623609C-0EF4-4ECB-A655-127E285B354B}" dt="2021-03-21T23:02:53.691" v="6047" actId="27803"/>
          <ac:spMkLst>
            <pc:docMk/>
            <pc:sldMk cId="2136510916" sldId="2134803580"/>
            <ac:spMk id="610" creationId="{64D4553C-24B4-4BBF-A633-B82233E186E5}"/>
          </ac:spMkLst>
        </pc:spChg>
        <pc:spChg chg="mod">
          <ac:chgData name="Pierre Cavaroc" userId="150eff99-6aed-48f0-b13c-cabd0a4b3ac2" providerId="ADAL" clId="{E623609C-0EF4-4ECB-A655-127E285B354B}" dt="2021-03-21T23:02:53.691" v="6047" actId="27803"/>
          <ac:spMkLst>
            <pc:docMk/>
            <pc:sldMk cId="2136510916" sldId="2134803580"/>
            <ac:spMk id="611" creationId="{9B08828F-7760-4675-84C8-77CDC754AA9B}"/>
          </ac:spMkLst>
        </pc:spChg>
        <pc:spChg chg="mod">
          <ac:chgData name="Pierre Cavaroc" userId="150eff99-6aed-48f0-b13c-cabd0a4b3ac2" providerId="ADAL" clId="{E623609C-0EF4-4ECB-A655-127E285B354B}" dt="2021-03-21T23:02:53.691" v="6047" actId="27803"/>
          <ac:spMkLst>
            <pc:docMk/>
            <pc:sldMk cId="2136510916" sldId="2134803580"/>
            <ac:spMk id="612" creationId="{47B27243-55F7-491B-B283-46960E2481B3}"/>
          </ac:spMkLst>
        </pc:spChg>
        <pc:spChg chg="mod">
          <ac:chgData name="Pierre Cavaroc" userId="150eff99-6aed-48f0-b13c-cabd0a4b3ac2" providerId="ADAL" clId="{E623609C-0EF4-4ECB-A655-127E285B354B}" dt="2021-03-21T23:02:53.691" v="6047" actId="27803"/>
          <ac:spMkLst>
            <pc:docMk/>
            <pc:sldMk cId="2136510916" sldId="2134803580"/>
            <ac:spMk id="613" creationId="{3B804981-EBAC-4F00-9A6F-171C07183A18}"/>
          </ac:spMkLst>
        </pc:spChg>
        <pc:spChg chg="mod">
          <ac:chgData name="Pierre Cavaroc" userId="150eff99-6aed-48f0-b13c-cabd0a4b3ac2" providerId="ADAL" clId="{E623609C-0EF4-4ECB-A655-127E285B354B}" dt="2021-03-21T23:02:53.691" v="6047" actId="27803"/>
          <ac:spMkLst>
            <pc:docMk/>
            <pc:sldMk cId="2136510916" sldId="2134803580"/>
            <ac:spMk id="614" creationId="{CEAC2D2E-1BDA-4279-A504-ED2919CB5B15}"/>
          </ac:spMkLst>
        </pc:spChg>
        <pc:spChg chg="mod">
          <ac:chgData name="Pierre Cavaroc" userId="150eff99-6aed-48f0-b13c-cabd0a4b3ac2" providerId="ADAL" clId="{E623609C-0EF4-4ECB-A655-127E285B354B}" dt="2021-03-21T23:02:53.691" v="6047" actId="27803"/>
          <ac:spMkLst>
            <pc:docMk/>
            <pc:sldMk cId="2136510916" sldId="2134803580"/>
            <ac:spMk id="615" creationId="{A88AD4A7-E925-4211-984C-B1D548C84799}"/>
          </ac:spMkLst>
        </pc:spChg>
        <pc:spChg chg="mod">
          <ac:chgData name="Pierre Cavaroc" userId="150eff99-6aed-48f0-b13c-cabd0a4b3ac2" providerId="ADAL" clId="{E623609C-0EF4-4ECB-A655-127E285B354B}" dt="2021-03-21T23:02:53.691" v="6047" actId="27803"/>
          <ac:spMkLst>
            <pc:docMk/>
            <pc:sldMk cId="2136510916" sldId="2134803580"/>
            <ac:spMk id="616" creationId="{A6E6F8A2-9B08-4E7E-A16B-B4DD2E7846BC}"/>
          </ac:spMkLst>
        </pc:spChg>
        <pc:spChg chg="mod">
          <ac:chgData name="Pierre Cavaroc" userId="150eff99-6aed-48f0-b13c-cabd0a4b3ac2" providerId="ADAL" clId="{E623609C-0EF4-4ECB-A655-127E285B354B}" dt="2021-03-21T23:02:53.691" v="6047" actId="27803"/>
          <ac:spMkLst>
            <pc:docMk/>
            <pc:sldMk cId="2136510916" sldId="2134803580"/>
            <ac:spMk id="617" creationId="{3755D9AF-FD26-4323-BBE8-05695D916A51}"/>
          </ac:spMkLst>
        </pc:spChg>
        <pc:spChg chg="mod">
          <ac:chgData name="Pierre Cavaroc" userId="150eff99-6aed-48f0-b13c-cabd0a4b3ac2" providerId="ADAL" clId="{E623609C-0EF4-4ECB-A655-127E285B354B}" dt="2021-03-21T23:02:53.691" v="6047" actId="27803"/>
          <ac:spMkLst>
            <pc:docMk/>
            <pc:sldMk cId="2136510916" sldId="2134803580"/>
            <ac:spMk id="618" creationId="{2E06585E-1E04-40E6-B184-4E6CFA2C50FD}"/>
          </ac:spMkLst>
        </pc:spChg>
        <pc:spChg chg="mod">
          <ac:chgData name="Pierre Cavaroc" userId="150eff99-6aed-48f0-b13c-cabd0a4b3ac2" providerId="ADAL" clId="{E623609C-0EF4-4ECB-A655-127E285B354B}" dt="2021-03-21T23:02:53.691" v="6047" actId="27803"/>
          <ac:spMkLst>
            <pc:docMk/>
            <pc:sldMk cId="2136510916" sldId="2134803580"/>
            <ac:spMk id="619" creationId="{D2D16490-16E7-4B81-A3B2-7241A52659C9}"/>
          </ac:spMkLst>
        </pc:spChg>
        <pc:spChg chg="mod">
          <ac:chgData name="Pierre Cavaroc" userId="150eff99-6aed-48f0-b13c-cabd0a4b3ac2" providerId="ADAL" clId="{E623609C-0EF4-4ECB-A655-127E285B354B}" dt="2021-03-21T23:02:53.691" v="6047" actId="27803"/>
          <ac:spMkLst>
            <pc:docMk/>
            <pc:sldMk cId="2136510916" sldId="2134803580"/>
            <ac:spMk id="620" creationId="{7CD583AE-B84F-4ACA-9AC3-0A8F14A2837B}"/>
          </ac:spMkLst>
        </pc:spChg>
        <pc:spChg chg="mod">
          <ac:chgData name="Pierre Cavaroc" userId="150eff99-6aed-48f0-b13c-cabd0a4b3ac2" providerId="ADAL" clId="{E623609C-0EF4-4ECB-A655-127E285B354B}" dt="2021-03-21T23:02:53.691" v="6047" actId="27803"/>
          <ac:spMkLst>
            <pc:docMk/>
            <pc:sldMk cId="2136510916" sldId="2134803580"/>
            <ac:spMk id="621" creationId="{C9D2C2D5-FB27-4969-BAFB-6352C71754A3}"/>
          </ac:spMkLst>
        </pc:spChg>
        <pc:spChg chg="mod">
          <ac:chgData name="Pierre Cavaroc" userId="150eff99-6aed-48f0-b13c-cabd0a4b3ac2" providerId="ADAL" clId="{E623609C-0EF4-4ECB-A655-127E285B354B}" dt="2021-03-21T23:02:53.691" v="6047" actId="27803"/>
          <ac:spMkLst>
            <pc:docMk/>
            <pc:sldMk cId="2136510916" sldId="2134803580"/>
            <ac:spMk id="622" creationId="{A9A51349-1948-45FB-B7A6-9796B5886966}"/>
          </ac:spMkLst>
        </pc:spChg>
        <pc:spChg chg="mod">
          <ac:chgData name="Pierre Cavaroc" userId="150eff99-6aed-48f0-b13c-cabd0a4b3ac2" providerId="ADAL" clId="{E623609C-0EF4-4ECB-A655-127E285B354B}" dt="2021-03-21T23:02:53.691" v="6047" actId="27803"/>
          <ac:spMkLst>
            <pc:docMk/>
            <pc:sldMk cId="2136510916" sldId="2134803580"/>
            <ac:spMk id="623" creationId="{570D7A0A-8711-4BCD-82EC-03659191E798}"/>
          </ac:spMkLst>
        </pc:spChg>
        <pc:spChg chg="mod">
          <ac:chgData name="Pierre Cavaroc" userId="150eff99-6aed-48f0-b13c-cabd0a4b3ac2" providerId="ADAL" clId="{E623609C-0EF4-4ECB-A655-127E285B354B}" dt="2021-03-21T23:02:53.691" v="6047" actId="27803"/>
          <ac:spMkLst>
            <pc:docMk/>
            <pc:sldMk cId="2136510916" sldId="2134803580"/>
            <ac:spMk id="624" creationId="{51D71DB3-613A-4416-BE5C-4D3C3075BBD5}"/>
          </ac:spMkLst>
        </pc:spChg>
        <pc:spChg chg="mod">
          <ac:chgData name="Pierre Cavaroc" userId="150eff99-6aed-48f0-b13c-cabd0a4b3ac2" providerId="ADAL" clId="{E623609C-0EF4-4ECB-A655-127E285B354B}" dt="2021-03-21T23:02:53.691" v="6047" actId="27803"/>
          <ac:spMkLst>
            <pc:docMk/>
            <pc:sldMk cId="2136510916" sldId="2134803580"/>
            <ac:spMk id="625" creationId="{19CF2EFA-0A30-424B-8F60-503811F3F7F6}"/>
          </ac:spMkLst>
        </pc:spChg>
        <pc:spChg chg="mod">
          <ac:chgData name="Pierre Cavaroc" userId="150eff99-6aed-48f0-b13c-cabd0a4b3ac2" providerId="ADAL" clId="{E623609C-0EF4-4ECB-A655-127E285B354B}" dt="2021-03-21T23:02:53.691" v="6047" actId="27803"/>
          <ac:spMkLst>
            <pc:docMk/>
            <pc:sldMk cId="2136510916" sldId="2134803580"/>
            <ac:spMk id="626" creationId="{13C04FC2-B28A-4119-A966-3696BD799021}"/>
          </ac:spMkLst>
        </pc:spChg>
        <pc:spChg chg="mod">
          <ac:chgData name="Pierre Cavaroc" userId="150eff99-6aed-48f0-b13c-cabd0a4b3ac2" providerId="ADAL" clId="{E623609C-0EF4-4ECB-A655-127E285B354B}" dt="2021-03-21T23:02:53.691" v="6047" actId="27803"/>
          <ac:spMkLst>
            <pc:docMk/>
            <pc:sldMk cId="2136510916" sldId="2134803580"/>
            <ac:spMk id="627" creationId="{39EDBC35-F966-4A2D-8A37-6505AB6D681E}"/>
          </ac:spMkLst>
        </pc:spChg>
        <pc:spChg chg="mod">
          <ac:chgData name="Pierre Cavaroc" userId="150eff99-6aed-48f0-b13c-cabd0a4b3ac2" providerId="ADAL" clId="{E623609C-0EF4-4ECB-A655-127E285B354B}" dt="2021-03-21T23:02:53.691" v="6047" actId="27803"/>
          <ac:spMkLst>
            <pc:docMk/>
            <pc:sldMk cId="2136510916" sldId="2134803580"/>
            <ac:spMk id="628" creationId="{44CD7C21-739B-496F-9656-A5991EBBB632}"/>
          </ac:spMkLst>
        </pc:spChg>
        <pc:spChg chg="mod">
          <ac:chgData name="Pierre Cavaroc" userId="150eff99-6aed-48f0-b13c-cabd0a4b3ac2" providerId="ADAL" clId="{E623609C-0EF4-4ECB-A655-127E285B354B}" dt="2021-03-21T23:02:53.691" v="6047" actId="27803"/>
          <ac:spMkLst>
            <pc:docMk/>
            <pc:sldMk cId="2136510916" sldId="2134803580"/>
            <ac:spMk id="629" creationId="{48C0E035-A24A-4D5C-BBA8-4A46CC17917A}"/>
          </ac:spMkLst>
        </pc:spChg>
        <pc:spChg chg="mod">
          <ac:chgData name="Pierre Cavaroc" userId="150eff99-6aed-48f0-b13c-cabd0a4b3ac2" providerId="ADAL" clId="{E623609C-0EF4-4ECB-A655-127E285B354B}" dt="2021-03-21T23:02:53.691" v="6047" actId="27803"/>
          <ac:spMkLst>
            <pc:docMk/>
            <pc:sldMk cId="2136510916" sldId="2134803580"/>
            <ac:spMk id="630" creationId="{B556C4F9-2D3E-4C18-A13B-DB6DD5FE8406}"/>
          </ac:spMkLst>
        </pc:spChg>
        <pc:spChg chg="mod">
          <ac:chgData name="Pierre Cavaroc" userId="150eff99-6aed-48f0-b13c-cabd0a4b3ac2" providerId="ADAL" clId="{E623609C-0EF4-4ECB-A655-127E285B354B}" dt="2021-03-21T23:02:53.691" v="6047" actId="27803"/>
          <ac:spMkLst>
            <pc:docMk/>
            <pc:sldMk cId="2136510916" sldId="2134803580"/>
            <ac:spMk id="631" creationId="{9A05406A-0295-4A11-8E90-DD897748A427}"/>
          </ac:spMkLst>
        </pc:spChg>
        <pc:spChg chg="mod">
          <ac:chgData name="Pierre Cavaroc" userId="150eff99-6aed-48f0-b13c-cabd0a4b3ac2" providerId="ADAL" clId="{E623609C-0EF4-4ECB-A655-127E285B354B}" dt="2021-03-21T23:02:53.691" v="6047" actId="27803"/>
          <ac:spMkLst>
            <pc:docMk/>
            <pc:sldMk cId="2136510916" sldId="2134803580"/>
            <ac:spMk id="632" creationId="{DE178226-F63F-43AA-8428-EF946EB1CED5}"/>
          </ac:spMkLst>
        </pc:spChg>
        <pc:spChg chg="mod">
          <ac:chgData name="Pierre Cavaroc" userId="150eff99-6aed-48f0-b13c-cabd0a4b3ac2" providerId="ADAL" clId="{E623609C-0EF4-4ECB-A655-127E285B354B}" dt="2021-03-21T23:02:53.691" v="6047" actId="27803"/>
          <ac:spMkLst>
            <pc:docMk/>
            <pc:sldMk cId="2136510916" sldId="2134803580"/>
            <ac:spMk id="633" creationId="{2DFA084A-87D9-443C-ACDE-EA4EBAD5013E}"/>
          </ac:spMkLst>
        </pc:spChg>
        <pc:spChg chg="mod">
          <ac:chgData name="Pierre Cavaroc" userId="150eff99-6aed-48f0-b13c-cabd0a4b3ac2" providerId="ADAL" clId="{E623609C-0EF4-4ECB-A655-127E285B354B}" dt="2021-03-21T23:02:53.691" v="6047" actId="27803"/>
          <ac:spMkLst>
            <pc:docMk/>
            <pc:sldMk cId="2136510916" sldId="2134803580"/>
            <ac:spMk id="634" creationId="{FCD523F8-263B-4E4D-A5DD-A72D39313F10}"/>
          </ac:spMkLst>
        </pc:spChg>
        <pc:spChg chg="mod">
          <ac:chgData name="Pierre Cavaroc" userId="150eff99-6aed-48f0-b13c-cabd0a4b3ac2" providerId="ADAL" clId="{E623609C-0EF4-4ECB-A655-127E285B354B}" dt="2021-03-21T23:02:53.691" v="6047" actId="27803"/>
          <ac:spMkLst>
            <pc:docMk/>
            <pc:sldMk cId="2136510916" sldId="2134803580"/>
            <ac:spMk id="635" creationId="{13B79466-D315-4179-9684-73B44D170921}"/>
          </ac:spMkLst>
        </pc:spChg>
        <pc:spChg chg="mod">
          <ac:chgData name="Pierre Cavaroc" userId="150eff99-6aed-48f0-b13c-cabd0a4b3ac2" providerId="ADAL" clId="{E623609C-0EF4-4ECB-A655-127E285B354B}" dt="2021-03-21T23:02:53.691" v="6047" actId="27803"/>
          <ac:spMkLst>
            <pc:docMk/>
            <pc:sldMk cId="2136510916" sldId="2134803580"/>
            <ac:spMk id="636" creationId="{6917AA17-9AA5-4F88-942C-B65C9D9C93C3}"/>
          </ac:spMkLst>
        </pc:spChg>
        <pc:spChg chg="mod">
          <ac:chgData name="Pierre Cavaroc" userId="150eff99-6aed-48f0-b13c-cabd0a4b3ac2" providerId="ADAL" clId="{E623609C-0EF4-4ECB-A655-127E285B354B}" dt="2021-03-21T23:02:53.691" v="6047" actId="27803"/>
          <ac:spMkLst>
            <pc:docMk/>
            <pc:sldMk cId="2136510916" sldId="2134803580"/>
            <ac:spMk id="637" creationId="{3982F821-3296-4422-822F-DD7DAD64FC70}"/>
          </ac:spMkLst>
        </pc:spChg>
        <pc:spChg chg="mod">
          <ac:chgData name="Pierre Cavaroc" userId="150eff99-6aed-48f0-b13c-cabd0a4b3ac2" providerId="ADAL" clId="{E623609C-0EF4-4ECB-A655-127E285B354B}" dt="2021-03-21T23:02:53.691" v="6047" actId="27803"/>
          <ac:spMkLst>
            <pc:docMk/>
            <pc:sldMk cId="2136510916" sldId="2134803580"/>
            <ac:spMk id="638" creationId="{285456F7-9A6E-4A4C-B493-FE67A4D37199}"/>
          </ac:spMkLst>
        </pc:spChg>
        <pc:spChg chg="mod">
          <ac:chgData name="Pierre Cavaroc" userId="150eff99-6aed-48f0-b13c-cabd0a4b3ac2" providerId="ADAL" clId="{E623609C-0EF4-4ECB-A655-127E285B354B}" dt="2021-03-21T23:02:53.691" v="6047" actId="27803"/>
          <ac:spMkLst>
            <pc:docMk/>
            <pc:sldMk cId="2136510916" sldId="2134803580"/>
            <ac:spMk id="639" creationId="{6042ED1C-DAC4-495A-92A4-D9747567D926}"/>
          </ac:spMkLst>
        </pc:spChg>
        <pc:spChg chg="mod">
          <ac:chgData name="Pierre Cavaroc" userId="150eff99-6aed-48f0-b13c-cabd0a4b3ac2" providerId="ADAL" clId="{E623609C-0EF4-4ECB-A655-127E285B354B}" dt="2021-03-21T23:02:53.691" v="6047" actId="27803"/>
          <ac:spMkLst>
            <pc:docMk/>
            <pc:sldMk cId="2136510916" sldId="2134803580"/>
            <ac:spMk id="640" creationId="{A516EABD-4015-4752-94D9-29970A778633}"/>
          </ac:spMkLst>
        </pc:spChg>
        <pc:spChg chg="mod">
          <ac:chgData name="Pierre Cavaroc" userId="150eff99-6aed-48f0-b13c-cabd0a4b3ac2" providerId="ADAL" clId="{E623609C-0EF4-4ECB-A655-127E285B354B}" dt="2021-03-21T23:02:53.691" v="6047" actId="27803"/>
          <ac:spMkLst>
            <pc:docMk/>
            <pc:sldMk cId="2136510916" sldId="2134803580"/>
            <ac:spMk id="641" creationId="{A97A3072-E2A8-49A6-B323-F45D15E52545}"/>
          </ac:spMkLst>
        </pc:spChg>
        <pc:spChg chg="mod">
          <ac:chgData name="Pierre Cavaroc" userId="150eff99-6aed-48f0-b13c-cabd0a4b3ac2" providerId="ADAL" clId="{E623609C-0EF4-4ECB-A655-127E285B354B}" dt="2021-03-21T23:02:53.691" v="6047" actId="27803"/>
          <ac:spMkLst>
            <pc:docMk/>
            <pc:sldMk cId="2136510916" sldId="2134803580"/>
            <ac:spMk id="642" creationId="{B754A3CD-B538-431C-8DAC-253000D2E7C6}"/>
          </ac:spMkLst>
        </pc:spChg>
        <pc:spChg chg="mod">
          <ac:chgData name="Pierre Cavaroc" userId="150eff99-6aed-48f0-b13c-cabd0a4b3ac2" providerId="ADAL" clId="{E623609C-0EF4-4ECB-A655-127E285B354B}" dt="2021-03-21T23:02:53.691" v="6047" actId="27803"/>
          <ac:spMkLst>
            <pc:docMk/>
            <pc:sldMk cId="2136510916" sldId="2134803580"/>
            <ac:spMk id="643" creationId="{1E871A03-41B9-4BB5-802B-B77FB80FD143}"/>
          </ac:spMkLst>
        </pc:spChg>
        <pc:spChg chg="mod">
          <ac:chgData name="Pierre Cavaroc" userId="150eff99-6aed-48f0-b13c-cabd0a4b3ac2" providerId="ADAL" clId="{E623609C-0EF4-4ECB-A655-127E285B354B}" dt="2021-03-21T23:02:53.691" v="6047" actId="27803"/>
          <ac:spMkLst>
            <pc:docMk/>
            <pc:sldMk cId="2136510916" sldId="2134803580"/>
            <ac:spMk id="644" creationId="{2F361FDD-E2C2-45AD-B828-67BCDEA3E7DE}"/>
          </ac:spMkLst>
        </pc:spChg>
        <pc:spChg chg="mod">
          <ac:chgData name="Pierre Cavaroc" userId="150eff99-6aed-48f0-b13c-cabd0a4b3ac2" providerId="ADAL" clId="{E623609C-0EF4-4ECB-A655-127E285B354B}" dt="2021-03-21T23:02:53.691" v="6047" actId="27803"/>
          <ac:spMkLst>
            <pc:docMk/>
            <pc:sldMk cId="2136510916" sldId="2134803580"/>
            <ac:spMk id="645" creationId="{1A88FF74-3C8E-489A-AB34-00C3FCC78105}"/>
          </ac:spMkLst>
        </pc:spChg>
        <pc:spChg chg="mod">
          <ac:chgData name="Pierre Cavaroc" userId="150eff99-6aed-48f0-b13c-cabd0a4b3ac2" providerId="ADAL" clId="{E623609C-0EF4-4ECB-A655-127E285B354B}" dt="2021-03-21T23:02:53.691" v="6047" actId="27803"/>
          <ac:spMkLst>
            <pc:docMk/>
            <pc:sldMk cId="2136510916" sldId="2134803580"/>
            <ac:spMk id="646" creationId="{51E4364E-6020-43AA-A556-87B8DA6EDC4A}"/>
          </ac:spMkLst>
        </pc:spChg>
        <pc:spChg chg="mod">
          <ac:chgData name="Pierre Cavaroc" userId="150eff99-6aed-48f0-b13c-cabd0a4b3ac2" providerId="ADAL" clId="{E623609C-0EF4-4ECB-A655-127E285B354B}" dt="2021-03-21T23:02:53.691" v="6047" actId="27803"/>
          <ac:spMkLst>
            <pc:docMk/>
            <pc:sldMk cId="2136510916" sldId="2134803580"/>
            <ac:spMk id="647" creationId="{4DB23606-ED98-4A32-A512-1ED60E36C489}"/>
          </ac:spMkLst>
        </pc:spChg>
        <pc:spChg chg="mod">
          <ac:chgData name="Pierre Cavaroc" userId="150eff99-6aed-48f0-b13c-cabd0a4b3ac2" providerId="ADAL" clId="{E623609C-0EF4-4ECB-A655-127E285B354B}" dt="2021-03-21T23:02:53.691" v="6047" actId="27803"/>
          <ac:spMkLst>
            <pc:docMk/>
            <pc:sldMk cId="2136510916" sldId="2134803580"/>
            <ac:spMk id="648" creationId="{B44D3565-31D3-4EA0-B6AF-48BAA5989F3C}"/>
          </ac:spMkLst>
        </pc:spChg>
        <pc:spChg chg="mod">
          <ac:chgData name="Pierre Cavaroc" userId="150eff99-6aed-48f0-b13c-cabd0a4b3ac2" providerId="ADAL" clId="{E623609C-0EF4-4ECB-A655-127E285B354B}" dt="2021-03-21T23:02:53.691" v="6047" actId="27803"/>
          <ac:spMkLst>
            <pc:docMk/>
            <pc:sldMk cId="2136510916" sldId="2134803580"/>
            <ac:spMk id="649" creationId="{5D7658A8-0D2B-43F7-930A-EA647B6C3E93}"/>
          </ac:spMkLst>
        </pc:spChg>
        <pc:spChg chg="mod">
          <ac:chgData name="Pierre Cavaroc" userId="150eff99-6aed-48f0-b13c-cabd0a4b3ac2" providerId="ADAL" clId="{E623609C-0EF4-4ECB-A655-127E285B354B}" dt="2021-03-21T23:02:53.691" v="6047" actId="27803"/>
          <ac:spMkLst>
            <pc:docMk/>
            <pc:sldMk cId="2136510916" sldId="2134803580"/>
            <ac:spMk id="650" creationId="{F68FFE14-77E2-4760-B6E3-AD8BCE1D6ADA}"/>
          </ac:spMkLst>
        </pc:spChg>
        <pc:spChg chg="mod">
          <ac:chgData name="Pierre Cavaroc" userId="150eff99-6aed-48f0-b13c-cabd0a4b3ac2" providerId="ADAL" clId="{E623609C-0EF4-4ECB-A655-127E285B354B}" dt="2021-03-21T23:02:53.691" v="6047" actId="27803"/>
          <ac:spMkLst>
            <pc:docMk/>
            <pc:sldMk cId="2136510916" sldId="2134803580"/>
            <ac:spMk id="651" creationId="{919E5AF8-62DA-4214-9541-AC8B19D75BE3}"/>
          </ac:spMkLst>
        </pc:spChg>
        <pc:spChg chg="mod">
          <ac:chgData name="Pierre Cavaroc" userId="150eff99-6aed-48f0-b13c-cabd0a4b3ac2" providerId="ADAL" clId="{E623609C-0EF4-4ECB-A655-127E285B354B}" dt="2021-03-21T23:02:53.691" v="6047" actId="27803"/>
          <ac:spMkLst>
            <pc:docMk/>
            <pc:sldMk cId="2136510916" sldId="2134803580"/>
            <ac:spMk id="652" creationId="{49078184-F425-434A-9A7F-EE115FBDA997}"/>
          </ac:spMkLst>
        </pc:spChg>
        <pc:spChg chg="mod">
          <ac:chgData name="Pierre Cavaroc" userId="150eff99-6aed-48f0-b13c-cabd0a4b3ac2" providerId="ADAL" clId="{E623609C-0EF4-4ECB-A655-127E285B354B}" dt="2021-03-21T23:02:53.691" v="6047" actId="27803"/>
          <ac:spMkLst>
            <pc:docMk/>
            <pc:sldMk cId="2136510916" sldId="2134803580"/>
            <ac:spMk id="653" creationId="{470BA5E6-A087-44D0-9CA3-8CC2E9CB1F1F}"/>
          </ac:spMkLst>
        </pc:spChg>
        <pc:spChg chg="mod">
          <ac:chgData name="Pierre Cavaroc" userId="150eff99-6aed-48f0-b13c-cabd0a4b3ac2" providerId="ADAL" clId="{E623609C-0EF4-4ECB-A655-127E285B354B}" dt="2021-03-21T23:02:53.691" v="6047" actId="27803"/>
          <ac:spMkLst>
            <pc:docMk/>
            <pc:sldMk cId="2136510916" sldId="2134803580"/>
            <ac:spMk id="654" creationId="{6F74987D-1CB1-4938-A4D8-B0067335BEC8}"/>
          </ac:spMkLst>
        </pc:spChg>
        <pc:spChg chg="mod">
          <ac:chgData name="Pierre Cavaroc" userId="150eff99-6aed-48f0-b13c-cabd0a4b3ac2" providerId="ADAL" clId="{E623609C-0EF4-4ECB-A655-127E285B354B}" dt="2021-03-21T23:02:53.691" v="6047" actId="27803"/>
          <ac:spMkLst>
            <pc:docMk/>
            <pc:sldMk cId="2136510916" sldId="2134803580"/>
            <ac:spMk id="655" creationId="{E194EEC6-D05A-4D8D-8FEC-7F2440EF4245}"/>
          </ac:spMkLst>
        </pc:spChg>
        <pc:spChg chg="mod">
          <ac:chgData name="Pierre Cavaroc" userId="150eff99-6aed-48f0-b13c-cabd0a4b3ac2" providerId="ADAL" clId="{E623609C-0EF4-4ECB-A655-127E285B354B}" dt="2021-03-21T23:02:53.691" v="6047" actId="27803"/>
          <ac:spMkLst>
            <pc:docMk/>
            <pc:sldMk cId="2136510916" sldId="2134803580"/>
            <ac:spMk id="656" creationId="{E7A187DB-4D78-4C13-9A39-5A8CECC1414B}"/>
          </ac:spMkLst>
        </pc:spChg>
        <pc:spChg chg="mod">
          <ac:chgData name="Pierre Cavaroc" userId="150eff99-6aed-48f0-b13c-cabd0a4b3ac2" providerId="ADAL" clId="{E623609C-0EF4-4ECB-A655-127E285B354B}" dt="2021-03-21T23:02:53.691" v="6047" actId="27803"/>
          <ac:spMkLst>
            <pc:docMk/>
            <pc:sldMk cId="2136510916" sldId="2134803580"/>
            <ac:spMk id="657" creationId="{F112534D-2688-4E07-8413-CCCA15F57A59}"/>
          </ac:spMkLst>
        </pc:spChg>
        <pc:spChg chg="mod">
          <ac:chgData name="Pierre Cavaroc" userId="150eff99-6aed-48f0-b13c-cabd0a4b3ac2" providerId="ADAL" clId="{E623609C-0EF4-4ECB-A655-127E285B354B}" dt="2021-03-21T23:02:53.691" v="6047" actId="27803"/>
          <ac:spMkLst>
            <pc:docMk/>
            <pc:sldMk cId="2136510916" sldId="2134803580"/>
            <ac:spMk id="658" creationId="{B2F37C9E-7F7A-46BC-BB35-0070C0BEB9D4}"/>
          </ac:spMkLst>
        </pc:spChg>
        <pc:spChg chg="mod">
          <ac:chgData name="Pierre Cavaroc" userId="150eff99-6aed-48f0-b13c-cabd0a4b3ac2" providerId="ADAL" clId="{E623609C-0EF4-4ECB-A655-127E285B354B}" dt="2021-03-21T23:02:53.691" v="6047" actId="27803"/>
          <ac:spMkLst>
            <pc:docMk/>
            <pc:sldMk cId="2136510916" sldId="2134803580"/>
            <ac:spMk id="659" creationId="{FB2F7540-D0E8-4585-BD68-296D04DB0C13}"/>
          </ac:spMkLst>
        </pc:spChg>
        <pc:spChg chg="mod">
          <ac:chgData name="Pierre Cavaroc" userId="150eff99-6aed-48f0-b13c-cabd0a4b3ac2" providerId="ADAL" clId="{E623609C-0EF4-4ECB-A655-127E285B354B}" dt="2021-03-21T23:02:53.691" v="6047" actId="27803"/>
          <ac:spMkLst>
            <pc:docMk/>
            <pc:sldMk cId="2136510916" sldId="2134803580"/>
            <ac:spMk id="660" creationId="{915FE7DC-0859-4DAD-9FBC-79783EB4A134}"/>
          </ac:spMkLst>
        </pc:spChg>
        <pc:spChg chg="mod">
          <ac:chgData name="Pierre Cavaroc" userId="150eff99-6aed-48f0-b13c-cabd0a4b3ac2" providerId="ADAL" clId="{E623609C-0EF4-4ECB-A655-127E285B354B}" dt="2021-03-21T23:02:53.691" v="6047" actId="27803"/>
          <ac:spMkLst>
            <pc:docMk/>
            <pc:sldMk cId="2136510916" sldId="2134803580"/>
            <ac:spMk id="661" creationId="{2C5ADBD5-6AC6-4331-9346-6D720A7F9025}"/>
          </ac:spMkLst>
        </pc:spChg>
        <pc:spChg chg="mod">
          <ac:chgData name="Pierre Cavaroc" userId="150eff99-6aed-48f0-b13c-cabd0a4b3ac2" providerId="ADAL" clId="{E623609C-0EF4-4ECB-A655-127E285B354B}" dt="2021-03-21T23:02:53.691" v="6047" actId="27803"/>
          <ac:spMkLst>
            <pc:docMk/>
            <pc:sldMk cId="2136510916" sldId="2134803580"/>
            <ac:spMk id="662" creationId="{A4A1A727-BBA9-49C1-8588-9E939BB6CCF9}"/>
          </ac:spMkLst>
        </pc:spChg>
        <pc:spChg chg="mod">
          <ac:chgData name="Pierre Cavaroc" userId="150eff99-6aed-48f0-b13c-cabd0a4b3ac2" providerId="ADAL" clId="{E623609C-0EF4-4ECB-A655-127E285B354B}" dt="2021-03-21T23:02:53.691" v="6047" actId="27803"/>
          <ac:spMkLst>
            <pc:docMk/>
            <pc:sldMk cId="2136510916" sldId="2134803580"/>
            <ac:spMk id="663" creationId="{65F7C73C-807D-4372-B79D-3F01E131BFE9}"/>
          </ac:spMkLst>
        </pc:spChg>
        <pc:spChg chg="mod">
          <ac:chgData name="Pierre Cavaroc" userId="150eff99-6aed-48f0-b13c-cabd0a4b3ac2" providerId="ADAL" clId="{E623609C-0EF4-4ECB-A655-127E285B354B}" dt="2021-03-21T23:02:53.691" v="6047" actId="27803"/>
          <ac:spMkLst>
            <pc:docMk/>
            <pc:sldMk cId="2136510916" sldId="2134803580"/>
            <ac:spMk id="664" creationId="{DD486B0C-10C9-4CB4-B6DE-34455E82DCDC}"/>
          </ac:spMkLst>
        </pc:spChg>
        <pc:spChg chg="mod">
          <ac:chgData name="Pierre Cavaroc" userId="150eff99-6aed-48f0-b13c-cabd0a4b3ac2" providerId="ADAL" clId="{E623609C-0EF4-4ECB-A655-127E285B354B}" dt="2021-03-21T23:02:53.691" v="6047" actId="27803"/>
          <ac:spMkLst>
            <pc:docMk/>
            <pc:sldMk cId="2136510916" sldId="2134803580"/>
            <ac:spMk id="665" creationId="{A733F198-D084-4B5C-8513-374A2CE55A30}"/>
          </ac:spMkLst>
        </pc:spChg>
        <pc:spChg chg="mod">
          <ac:chgData name="Pierre Cavaroc" userId="150eff99-6aed-48f0-b13c-cabd0a4b3ac2" providerId="ADAL" clId="{E623609C-0EF4-4ECB-A655-127E285B354B}" dt="2021-03-21T23:02:53.691" v="6047" actId="27803"/>
          <ac:spMkLst>
            <pc:docMk/>
            <pc:sldMk cId="2136510916" sldId="2134803580"/>
            <ac:spMk id="666" creationId="{E7B247AA-1821-4953-ADE2-9623BFC669F5}"/>
          </ac:spMkLst>
        </pc:spChg>
        <pc:spChg chg="mod">
          <ac:chgData name="Pierre Cavaroc" userId="150eff99-6aed-48f0-b13c-cabd0a4b3ac2" providerId="ADAL" clId="{E623609C-0EF4-4ECB-A655-127E285B354B}" dt="2021-03-21T23:02:53.691" v="6047" actId="27803"/>
          <ac:spMkLst>
            <pc:docMk/>
            <pc:sldMk cId="2136510916" sldId="2134803580"/>
            <ac:spMk id="667" creationId="{7A3AFDEC-D5BD-4308-9CAC-13296FA93961}"/>
          </ac:spMkLst>
        </pc:spChg>
        <pc:spChg chg="mod">
          <ac:chgData name="Pierre Cavaroc" userId="150eff99-6aed-48f0-b13c-cabd0a4b3ac2" providerId="ADAL" clId="{E623609C-0EF4-4ECB-A655-127E285B354B}" dt="2021-03-21T23:02:53.691" v="6047" actId="27803"/>
          <ac:spMkLst>
            <pc:docMk/>
            <pc:sldMk cId="2136510916" sldId="2134803580"/>
            <ac:spMk id="668" creationId="{EF42C919-3A94-4533-AEE7-3A9372B96926}"/>
          </ac:spMkLst>
        </pc:spChg>
        <pc:spChg chg="mod">
          <ac:chgData name="Pierre Cavaroc" userId="150eff99-6aed-48f0-b13c-cabd0a4b3ac2" providerId="ADAL" clId="{E623609C-0EF4-4ECB-A655-127E285B354B}" dt="2021-03-21T23:02:53.691" v="6047" actId="27803"/>
          <ac:spMkLst>
            <pc:docMk/>
            <pc:sldMk cId="2136510916" sldId="2134803580"/>
            <ac:spMk id="669" creationId="{F2ADBC49-F081-4CEA-8F8E-FD65803D1C09}"/>
          </ac:spMkLst>
        </pc:spChg>
        <pc:spChg chg="mod">
          <ac:chgData name="Pierre Cavaroc" userId="150eff99-6aed-48f0-b13c-cabd0a4b3ac2" providerId="ADAL" clId="{E623609C-0EF4-4ECB-A655-127E285B354B}" dt="2021-03-21T23:02:53.691" v="6047" actId="27803"/>
          <ac:spMkLst>
            <pc:docMk/>
            <pc:sldMk cId="2136510916" sldId="2134803580"/>
            <ac:spMk id="670" creationId="{436F5B4D-38E7-4206-A92C-ABADB506B7BC}"/>
          </ac:spMkLst>
        </pc:spChg>
        <pc:spChg chg="mod">
          <ac:chgData name="Pierre Cavaroc" userId="150eff99-6aed-48f0-b13c-cabd0a4b3ac2" providerId="ADAL" clId="{E623609C-0EF4-4ECB-A655-127E285B354B}" dt="2021-03-21T23:02:53.691" v="6047" actId="27803"/>
          <ac:spMkLst>
            <pc:docMk/>
            <pc:sldMk cId="2136510916" sldId="2134803580"/>
            <ac:spMk id="671" creationId="{927B60B5-1402-415C-9BD9-86D275AE607B}"/>
          </ac:spMkLst>
        </pc:spChg>
        <pc:spChg chg="mod">
          <ac:chgData name="Pierre Cavaroc" userId="150eff99-6aed-48f0-b13c-cabd0a4b3ac2" providerId="ADAL" clId="{E623609C-0EF4-4ECB-A655-127E285B354B}" dt="2021-03-21T23:02:53.691" v="6047" actId="27803"/>
          <ac:spMkLst>
            <pc:docMk/>
            <pc:sldMk cId="2136510916" sldId="2134803580"/>
            <ac:spMk id="672" creationId="{79AF1621-988B-4967-B925-F95736B690F4}"/>
          </ac:spMkLst>
        </pc:spChg>
        <pc:spChg chg="mod">
          <ac:chgData name="Pierre Cavaroc" userId="150eff99-6aed-48f0-b13c-cabd0a4b3ac2" providerId="ADAL" clId="{E623609C-0EF4-4ECB-A655-127E285B354B}" dt="2021-03-21T23:02:53.691" v="6047" actId="27803"/>
          <ac:spMkLst>
            <pc:docMk/>
            <pc:sldMk cId="2136510916" sldId="2134803580"/>
            <ac:spMk id="673" creationId="{76FB960F-9A47-426B-9D2A-642CB65855FA}"/>
          </ac:spMkLst>
        </pc:spChg>
        <pc:spChg chg="mod">
          <ac:chgData name="Pierre Cavaroc" userId="150eff99-6aed-48f0-b13c-cabd0a4b3ac2" providerId="ADAL" clId="{E623609C-0EF4-4ECB-A655-127E285B354B}" dt="2021-03-21T23:02:53.691" v="6047" actId="27803"/>
          <ac:spMkLst>
            <pc:docMk/>
            <pc:sldMk cId="2136510916" sldId="2134803580"/>
            <ac:spMk id="674" creationId="{9B5CE505-BD6C-4077-99FD-A94AA86CE4A2}"/>
          </ac:spMkLst>
        </pc:spChg>
        <pc:spChg chg="mod">
          <ac:chgData name="Pierre Cavaroc" userId="150eff99-6aed-48f0-b13c-cabd0a4b3ac2" providerId="ADAL" clId="{E623609C-0EF4-4ECB-A655-127E285B354B}" dt="2021-03-21T23:02:53.691" v="6047" actId="27803"/>
          <ac:spMkLst>
            <pc:docMk/>
            <pc:sldMk cId="2136510916" sldId="2134803580"/>
            <ac:spMk id="675" creationId="{EB777DE4-F650-45FB-83B1-02BDFFCC2727}"/>
          </ac:spMkLst>
        </pc:spChg>
        <pc:spChg chg="mod">
          <ac:chgData name="Pierre Cavaroc" userId="150eff99-6aed-48f0-b13c-cabd0a4b3ac2" providerId="ADAL" clId="{E623609C-0EF4-4ECB-A655-127E285B354B}" dt="2021-03-21T23:02:53.691" v="6047" actId="27803"/>
          <ac:spMkLst>
            <pc:docMk/>
            <pc:sldMk cId="2136510916" sldId="2134803580"/>
            <ac:spMk id="676" creationId="{30B86686-CF18-461C-AB83-94E399ACC759}"/>
          </ac:spMkLst>
        </pc:spChg>
        <pc:spChg chg="mod">
          <ac:chgData name="Pierre Cavaroc" userId="150eff99-6aed-48f0-b13c-cabd0a4b3ac2" providerId="ADAL" clId="{E623609C-0EF4-4ECB-A655-127E285B354B}" dt="2021-03-21T23:02:53.691" v="6047" actId="27803"/>
          <ac:spMkLst>
            <pc:docMk/>
            <pc:sldMk cId="2136510916" sldId="2134803580"/>
            <ac:spMk id="677" creationId="{0B8B66BC-8DD7-4D87-B07F-BF90DEF373F5}"/>
          </ac:spMkLst>
        </pc:spChg>
        <pc:spChg chg="mod">
          <ac:chgData name="Pierre Cavaroc" userId="150eff99-6aed-48f0-b13c-cabd0a4b3ac2" providerId="ADAL" clId="{E623609C-0EF4-4ECB-A655-127E285B354B}" dt="2021-03-21T23:02:53.691" v="6047" actId="27803"/>
          <ac:spMkLst>
            <pc:docMk/>
            <pc:sldMk cId="2136510916" sldId="2134803580"/>
            <ac:spMk id="678" creationId="{5024C635-ACD1-4825-9155-9AF657A7EEFA}"/>
          </ac:spMkLst>
        </pc:spChg>
        <pc:spChg chg="mod">
          <ac:chgData name="Pierre Cavaroc" userId="150eff99-6aed-48f0-b13c-cabd0a4b3ac2" providerId="ADAL" clId="{E623609C-0EF4-4ECB-A655-127E285B354B}" dt="2021-03-21T23:02:53.691" v="6047" actId="27803"/>
          <ac:spMkLst>
            <pc:docMk/>
            <pc:sldMk cId="2136510916" sldId="2134803580"/>
            <ac:spMk id="679" creationId="{970BADA3-AB2C-4039-A6F2-F9F688CF77D5}"/>
          </ac:spMkLst>
        </pc:spChg>
        <pc:spChg chg="mod">
          <ac:chgData name="Pierre Cavaroc" userId="150eff99-6aed-48f0-b13c-cabd0a4b3ac2" providerId="ADAL" clId="{E623609C-0EF4-4ECB-A655-127E285B354B}" dt="2021-03-21T23:02:53.691" v="6047" actId="27803"/>
          <ac:spMkLst>
            <pc:docMk/>
            <pc:sldMk cId="2136510916" sldId="2134803580"/>
            <ac:spMk id="680" creationId="{031B3393-A5C3-4D5D-A9AB-54032FC2B893}"/>
          </ac:spMkLst>
        </pc:spChg>
        <pc:spChg chg="mod">
          <ac:chgData name="Pierre Cavaroc" userId="150eff99-6aed-48f0-b13c-cabd0a4b3ac2" providerId="ADAL" clId="{E623609C-0EF4-4ECB-A655-127E285B354B}" dt="2021-03-21T23:02:53.691" v="6047" actId="27803"/>
          <ac:spMkLst>
            <pc:docMk/>
            <pc:sldMk cId="2136510916" sldId="2134803580"/>
            <ac:spMk id="681" creationId="{8E86FEA3-260B-4D09-90D9-DF9183939281}"/>
          </ac:spMkLst>
        </pc:spChg>
        <pc:spChg chg="mod">
          <ac:chgData name="Pierre Cavaroc" userId="150eff99-6aed-48f0-b13c-cabd0a4b3ac2" providerId="ADAL" clId="{E623609C-0EF4-4ECB-A655-127E285B354B}" dt="2021-03-21T23:02:53.691" v="6047" actId="27803"/>
          <ac:spMkLst>
            <pc:docMk/>
            <pc:sldMk cId="2136510916" sldId="2134803580"/>
            <ac:spMk id="682" creationId="{1C3ACBB5-A772-4FA9-AFC9-C2B339431D05}"/>
          </ac:spMkLst>
        </pc:spChg>
        <pc:spChg chg="mod">
          <ac:chgData name="Pierre Cavaroc" userId="150eff99-6aed-48f0-b13c-cabd0a4b3ac2" providerId="ADAL" clId="{E623609C-0EF4-4ECB-A655-127E285B354B}" dt="2021-03-21T23:02:53.691" v="6047" actId="27803"/>
          <ac:spMkLst>
            <pc:docMk/>
            <pc:sldMk cId="2136510916" sldId="2134803580"/>
            <ac:spMk id="683" creationId="{6DFECED5-113F-46C6-BE66-ED6FC8540879}"/>
          </ac:spMkLst>
        </pc:spChg>
        <pc:spChg chg="mod">
          <ac:chgData name="Pierre Cavaroc" userId="150eff99-6aed-48f0-b13c-cabd0a4b3ac2" providerId="ADAL" clId="{E623609C-0EF4-4ECB-A655-127E285B354B}" dt="2021-03-21T23:02:53.691" v="6047" actId="27803"/>
          <ac:spMkLst>
            <pc:docMk/>
            <pc:sldMk cId="2136510916" sldId="2134803580"/>
            <ac:spMk id="684" creationId="{728664F1-AA7E-44E6-83F5-4D9FA879A462}"/>
          </ac:spMkLst>
        </pc:spChg>
        <pc:spChg chg="mod">
          <ac:chgData name="Pierre Cavaroc" userId="150eff99-6aed-48f0-b13c-cabd0a4b3ac2" providerId="ADAL" clId="{E623609C-0EF4-4ECB-A655-127E285B354B}" dt="2021-03-21T23:02:53.691" v="6047" actId="27803"/>
          <ac:spMkLst>
            <pc:docMk/>
            <pc:sldMk cId="2136510916" sldId="2134803580"/>
            <ac:spMk id="685" creationId="{D17A3E2F-D1C9-4318-87CE-1B5D7AF6B95D}"/>
          </ac:spMkLst>
        </pc:spChg>
        <pc:spChg chg="mod">
          <ac:chgData name="Pierre Cavaroc" userId="150eff99-6aed-48f0-b13c-cabd0a4b3ac2" providerId="ADAL" clId="{E623609C-0EF4-4ECB-A655-127E285B354B}" dt="2021-03-21T23:02:53.691" v="6047" actId="27803"/>
          <ac:spMkLst>
            <pc:docMk/>
            <pc:sldMk cId="2136510916" sldId="2134803580"/>
            <ac:spMk id="686" creationId="{9C8EA401-77B7-4198-BFA8-E3076CEDD277}"/>
          </ac:spMkLst>
        </pc:spChg>
        <pc:spChg chg="mod">
          <ac:chgData name="Pierre Cavaroc" userId="150eff99-6aed-48f0-b13c-cabd0a4b3ac2" providerId="ADAL" clId="{E623609C-0EF4-4ECB-A655-127E285B354B}" dt="2021-03-21T23:02:53.691" v="6047" actId="27803"/>
          <ac:spMkLst>
            <pc:docMk/>
            <pc:sldMk cId="2136510916" sldId="2134803580"/>
            <ac:spMk id="687" creationId="{8889D1E4-972E-4B0B-893A-ED479A44B47B}"/>
          </ac:spMkLst>
        </pc:spChg>
        <pc:spChg chg="mod">
          <ac:chgData name="Pierre Cavaroc" userId="150eff99-6aed-48f0-b13c-cabd0a4b3ac2" providerId="ADAL" clId="{E623609C-0EF4-4ECB-A655-127E285B354B}" dt="2021-03-21T23:02:53.691" v="6047" actId="27803"/>
          <ac:spMkLst>
            <pc:docMk/>
            <pc:sldMk cId="2136510916" sldId="2134803580"/>
            <ac:spMk id="688" creationId="{E842CD88-2A53-4E9B-BBD5-20E343E170C5}"/>
          </ac:spMkLst>
        </pc:spChg>
        <pc:spChg chg="mod">
          <ac:chgData name="Pierre Cavaroc" userId="150eff99-6aed-48f0-b13c-cabd0a4b3ac2" providerId="ADAL" clId="{E623609C-0EF4-4ECB-A655-127E285B354B}" dt="2021-03-21T23:02:53.691" v="6047" actId="27803"/>
          <ac:spMkLst>
            <pc:docMk/>
            <pc:sldMk cId="2136510916" sldId="2134803580"/>
            <ac:spMk id="689" creationId="{07D901C5-954D-471D-B578-07D37F4824CA}"/>
          </ac:spMkLst>
        </pc:spChg>
        <pc:spChg chg="mod">
          <ac:chgData name="Pierre Cavaroc" userId="150eff99-6aed-48f0-b13c-cabd0a4b3ac2" providerId="ADAL" clId="{E623609C-0EF4-4ECB-A655-127E285B354B}" dt="2021-03-21T23:02:53.691" v="6047" actId="27803"/>
          <ac:spMkLst>
            <pc:docMk/>
            <pc:sldMk cId="2136510916" sldId="2134803580"/>
            <ac:spMk id="690" creationId="{C3DDC8C3-51DF-4F01-9D88-7EA1C68CC870}"/>
          </ac:spMkLst>
        </pc:spChg>
        <pc:spChg chg="mod">
          <ac:chgData name="Pierre Cavaroc" userId="150eff99-6aed-48f0-b13c-cabd0a4b3ac2" providerId="ADAL" clId="{E623609C-0EF4-4ECB-A655-127E285B354B}" dt="2021-03-21T23:02:53.691" v="6047" actId="27803"/>
          <ac:spMkLst>
            <pc:docMk/>
            <pc:sldMk cId="2136510916" sldId="2134803580"/>
            <ac:spMk id="691" creationId="{389652B0-729E-49BC-878B-5D4606EE3B92}"/>
          </ac:spMkLst>
        </pc:spChg>
        <pc:spChg chg="mod">
          <ac:chgData name="Pierre Cavaroc" userId="150eff99-6aed-48f0-b13c-cabd0a4b3ac2" providerId="ADAL" clId="{E623609C-0EF4-4ECB-A655-127E285B354B}" dt="2021-03-21T23:02:53.691" v="6047" actId="27803"/>
          <ac:spMkLst>
            <pc:docMk/>
            <pc:sldMk cId="2136510916" sldId="2134803580"/>
            <ac:spMk id="692" creationId="{F3658A63-7084-475C-BC4D-A362454FF925}"/>
          </ac:spMkLst>
        </pc:spChg>
        <pc:spChg chg="mod">
          <ac:chgData name="Pierre Cavaroc" userId="150eff99-6aed-48f0-b13c-cabd0a4b3ac2" providerId="ADAL" clId="{E623609C-0EF4-4ECB-A655-127E285B354B}" dt="2021-03-21T23:02:53.691" v="6047" actId="27803"/>
          <ac:spMkLst>
            <pc:docMk/>
            <pc:sldMk cId="2136510916" sldId="2134803580"/>
            <ac:spMk id="693" creationId="{4001A5BE-E809-48A2-A447-458C80E8BAE5}"/>
          </ac:spMkLst>
        </pc:spChg>
        <pc:spChg chg="mod">
          <ac:chgData name="Pierre Cavaroc" userId="150eff99-6aed-48f0-b13c-cabd0a4b3ac2" providerId="ADAL" clId="{E623609C-0EF4-4ECB-A655-127E285B354B}" dt="2021-03-21T23:02:53.691" v="6047" actId="27803"/>
          <ac:spMkLst>
            <pc:docMk/>
            <pc:sldMk cId="2136510916" sldId="2134803580"/>
            <ac:spMk id="694" creationId="{98D117F1-C171-4FE0-BAF2-81D1207CEAE0}"/>
          </ac:spMkLst>
        </pc:spChg>
        <pc:spChg chg="mod">
          <ac:chgData name="Pierre Cavaroc" userId="150eff99-6aed-48f0-b13c-cabd0a4b3ac2" providerId="ADAL" clId="{E623609C-0EF4-4ECB-A655-127E285B354B}" dt="2021-03-21T23:02:53.691" v="6047" actId="27803"/>
          <ac:spMkLst>
            <pc:docMk/>
            <pc:sldMk cId="2136510916" sldId="2134803580"/>
            <ac:spMk id="695" creationId="{27CAB789-789E-41C9-87A7-B4BA4E4F51D2}"/>
          </ac:spMkLst>
        </pc:spChg>
        <pc:spChg chg="mod">
          <ac:chgData name="Pierre Cavaroc" userId="150eff99-6aed-48f0-b13c-cabd0a4b3ac2" providerId="ADAL" clId="{E623609C-0EF4-4ECB-A655-127E285B354B}" dt="2021-03-21T23:02:53.691" v="6047" actId="27803"/>
          <ac:spMkLst>
            <pc:docMk/>
            <pc:sldMk cId="2136510916" sldId="2134803580"/>
            <ac:spMk id="696" creationId="{19F1A6D7-4FCB-4C7B-8E5B-5C7C1A37291F}"/>
          </ac:spMkLst>
        </pc:spChg>
        <pc:spChg chg="mod">
          <ac:chgData name="Pierre Cavaroc" userId="150eff99-6aed-48f0-b13c-cabd0a4b3ac2" providerId="ADAL" clId="{E623609C-0EF4-4ECB-A655-127E285B354B}" dt="2021-03-21T23:02:53.691" v="6047" actId="27803"/>
          <ac:spMkLst>
            <pc:docMk/>
            <pc:sldMk cId="2136510916" sldId="2134803580"/>
            <ac:spMk id="697" creationId="{BD253797-DC3F-41B2-9FE8-F7BCA4E7D487}"/>
          </ac:spMkLst>
        </pc:spChg>
        <pc:spChg chg="mod">
          <ac:chgData name="Pierre Cavaroc" userId="150eff99-6aed-48f0-b13c-cabd0a4b3ac2" providerId="ADAL" clId="{E623609C-0EF4-4ECB-A655-127E285B354B}" dt="2021-03-21T23:02:53.691" v="6047" actId="27803"/>
          <ac:spMkLst>
            <pc:docMk/>
            <pc:sldMk cId="2136510916" sldId="2134803580"/>
            <ac:spMk id="698" creationId="{0C65278C-1F1E-44C2-A09F-B71E197BB37A}"/>
          </ac:spMkLst>
        </pc:spChg>
        <pc:spChg chg="mod">
          <ac:chgData name="Pierre Cavaroc" userId="150eff99-6aed-48f0-b13c-cabd0a4b3ac2" providerId="ADAL" clId="{E623609C-0EF4-4ECB-A655-127E285B354B}" dt="2021-03-21T23:02:53.691" v="6047" actId="27803"/>
          <ac:spMkLst>
            <pc:docMk/>
            <pc:sldMk cId="2136510916" sldId="2134803580"/>
            <ac:spMk id="699" creationId="{DD46C3E8-D6A6-4935-9274-924AE84B749B}"/>
          </ac:spMkLst>
        </pc:spChg>
        <pc:spChg chg="mod">
          <ac:chgData name="Pierre Cavaroc" userId="150eff99-6aed-48f0-b13c-cabd0a4b3ac2" providerId="ADAL" clId="{E623609C-0EF4-4ECB-A655-127E285B354B}" dt="2021-03-21T23:02:53.691" v="6047" actId="27803"/>
          <ac:spMkLst>
            <pc:docMk/>
            <pc:sldMk cId="2136510916" sldId="2134803580"/>
            <ac:spMk id="700" creationId="{2259B319-65D4-4DC2-B6AA-6DB1CA7CC473}"/>
          </ac:spMkLst>
        </pc:spChg>
        <pc:spChg chg="mod">
          <ac:chgData name="Pierre Cavaroc" userId="150eff99-6aed-48f0-b13c-cabd0a4b3ac2" providerId="ADAL" clId="{E623609C-0EF4-4ECB-A655-127E285B354B}" dt="2021-03-21T23:02:53.691" v="6047" actId="27803"/>
          <ac:spMkLst>
            <pc:docMk/>
            <pc:sldMk cId="2136510916" sldId="2134803580"/>
            <ac:spMk id="701" creationId="{CFE7A328-7B26-448F-A20A-B5044BF4E2BB}"/>
          </ac:spMkLst>
        </pc:spChg>
        <pc:spChg chg="mod">
          <ac:chgData name="Pierre Cavaroc" userId="150eff99-6aed-48f0-b13c-cabd0a4b3ac2" providerId="ADAL" clId="{E623609C-0EF4-4ECB-A655-127E285B354B}" dt="2021-03-21T23:02:53.691" v="6047" actId="27803"/>
          <ac:spMkLst>
            <pc:docMk/>
            <pc:sldMk cId="2136510916" sldId="2134803580"/>
            <ac:spMk id="702" creationId="{CDCF444F-9277-43E0-A166-065D562D0BD0}"/>
          </ac:spMkLst>
        </pc:spChg>
        <pc:spChg chg="mod">
          <ac:chgData name="Pierre Cavaroc" userId="150eff99-6aed-48f0-b13c-cabd0a4b3ac2" providerId="ADAL" clId="{E623609C-0EF4-4ECB-A655-127E285B354B}" dt="2021-03-21T23:02:53.691" v="6047" actId="27803"/>
          <ac:spMkLst>
            <pc:docMk/>
            <pc:sldMk cId="2136510916" sldId="2134803580"/>
            <ac:spMk id="703" creationId="{500B128B-DBB9-49A8-A647-08D86AB5C502}"/>
          </ac:spMkLst>
        </pc:spChg>
        <pc:spChg chg="mod">
          <ac:chgData name="Pierre Cavaroc" userId="150eff99-6aed-48f0-b13c-cabd0a4b3ac2" providerId="ADAL" clId="{E623609C-0EF4-4ECB-A655-127E285B354B}" dt="2021-03-21T23:02:53.691" v="6047" actId="27803"/>
          <ac:spMkLst>
            <pc:docMk/>
            <pc:sldMk cId="2136510916" sldId="2134803580"/>
            <ac:spMk id="704" creationId="{D104C879-DDC8-4A47-9150-0B8747C7D8C8}"/>
          </ac:spMkLst>
        </pc:spChg>
        <pc:spChg chg="mod">
          <ac:chgData name="Pierre Cavaroc" userId="150eff99-6aed-48f0-b13c-cabd0a4b3ac2" providerId="ADAL" clId="{E623609C-0EF4-4ECB-A655-127E285B354B}" dt="2021-03-21T23:02:53.691" v="6047" actId="27803"/>
          <ac:spMkLst>
            <pc:docMk/>
            <pc:sldMk cId="2136510916" sldId="2134803580"/>
            <ac:spMk id="705" creationId="{894FDA29-F96F-40A2-B262-A1A938AB3650}"/>
          </ac:spMkLst>
        </pc:spChg>
        <pc:spChg chg="mod">
          <ac:chgData name="Pierre Cavaroc" userId="150eff99-6aed-48f0-b13c-cabd0a4b3ac2" providerId="ADAL" clId="{E623609C-0EF4-4ECB-A655-127E285B354B}" dt="2021-03-21T23:02:53.691" v="6047" actId="27803"/>
          <ac:spMkLst>
            <pc:docMk/>
            <pc:sldMk cId="2136510916" sldId="2134803580"/>
            <ac:spMk id="706" creationId="{5DF7D7A9-9F9D-4D79-A5BA-A16EF0C3DA08}"/>
          </ac:spMkLst>
        </pc:spChg>
        <pc:spChg chg="mod">
          <ac:chgData name="Pierre Cavaroc" userId="150eff99-6aed-48f0-b13c-cabd0a4b3ac2" providerId="ADAL" clId="{E623609C-0EF4-4ECB-A655-127E285B354B}" dt="2021-03-21T23:02:53.691" v="6047" actId="27803"/>
          <ac:spMkLst>
            <pc:docMk/>
            <pc:sldMk cId="2136510916" sldId="2134803580"/>
            <ac:spMk id="707" creationId="{22D31B79-F173-4B5F-9BC9-B9D0E756DE01}"/>
          </ac:spMkLst>
        </pc:spChg>
        <pc:spChg chg="mod">
          <ac:chgData name="Pierre Cavaroc" userId="150eff99-6aed-48f0-b13c-cabd0a4b3ac2" providerId="ADAL" clId="{E623609C-0EF4-4ECB-A655-127E285B354B}" dt="2021-03-21T23:02:53.691" v="6047" actId="27803"/>
          <ac:spMkLst>
            <pc:docMk/>
            <pc:sldMk cId="2136510916" sldId="2134803580"/>
            <ac:spMk id="708" creationId="{049B97D7-1F9C-42B4-9CA2-4BF78C5101DB}"/>
          </ac:spMkLst>
        </pc:spChg>
        <pc:spChg chg="mod">
          <ac:chgData name="Pierre Cavaroc" userId="150eff99-6aed-48f0-b13c-cabd0a4b3ac2" providerId="ADAL" clId="{E623609C-0EF4-4ECB-A655-127E285B354B}" dt="2021-03-21T23:02:53.691" v="6047" actId="27803"/>
          <ac:spMkLst>
            <pc:docMk/>
            <pc:sldMk cId="2136510916" sldId="2134803580"/>
            <ac:spMk id="709" creationId="{98522CC0-2F67-4C6C-808B-8A6405FC5E3E}"/>
          </ac:spMkLst>
        </pc:spChg>
        <pc:spChg chg="mod">
          <ac:chgData name="Pierre Cavaroc" userId="150eff99-6aed-48f0-b13c-cabd0a4b3ac2" providerId="ADAL" clId="{E623609C-0EF4-4ECB-A655-127E285B354B}" dt="2021-03-21T23:02:53.691" v="6047" actId="27803"/>
          <ac:spMkLst>
            <pc:docMk/>
            <pc:sldMk cId="2136510916" sldId="2134803580"/>
            <ac:spMk id="710" creationId="{151CEAA7-41F9-41DB-9217-732025A1B33A}"/>
          </ac:spMkLst>
        </pc:spChg>
        <pc:spChg chg="mod">
          <ac:chgData name="Pierre Cavaroc" userId="150eff99-6aed-48f0-b13c-cabd0a4b3ac2" providerId="ADAL" clId="{E623609C-0EF4-4ECB-A655-127E285B354B}" dt="2021-03-21T23:02:53.691" v="6047" actId="27803"/>
          <ac:spMkLst>
            <pc:docMk/>
            <pc:sldMk cId="2136510916" sldId="2134803580"/>
            <ac:spMk id="711" creationId="{B5EA2EDE-97E9-4B70-8988-FFE5216C4B0B}"/>
          </ac:spMkLst>
        </pc:spChg>
        <pc:spChg chg="mod">
          <ac:chgData name="Pierre Cavaroc" userId="150eff99-6aed-48f0-b13c-cabd0a4b3ac2" providerId="ADAL" clId="{E623609C-0EF4-4ECB-A655-127E285B354B}" dt="2021-03-21T23:02:53.691" v="6047" actId="27803"/>
          <ac:spMkLst>
            <pc:docMk/>
            <pc:sldMk cId="2136510916" sldId="2134803580"/>
            <ac:spMk id="712" creationId="{6DCB55FA-0556-4F79-83C3-7E91AA6E0C52}"/>
          </ac:spMkLst>
        </pc:spChg>
        <pc:spChg chg="mod">
          <ac:chgData name="Pierre Cavaroc" userId="150eff99-6aed-48f0-b13c-cabd0a4b3ac2" providerId="ADAL" clId="{E623609C-0EF4-4ECB-A655-127E285B354B}" dt="2021-03-21T23:02:53.691" v="6047" actId="27803"/>
          <ac:spMkLst>
            <pc:docMk/>
            <pc:sldMk cId="2136510916" sldId="2134803580"/>
            <ac:spMk id="713" creationId="{495BBA15-34E7-4886-B444-F8A0B271CC63}"/>
          </ac:spMkLst>
        </pc:spChg>
        <pc:spChg chg="mod">
          <ac:chgData name="Pierre Cavaroc" userId="150eff99-6aed-48f0-b13c-cabd0a4b3ac2" providerId="ADAL" clId="{E623609C-0EF4-4ECB-A655-127E285B354B}" dt="2021-03-21T23:02:53.691" v="6047" actId="27803"/>
          <ac:spMkLst>
            <pc:docMk/>
            <pc:sldMk cId="2136510916" sldId="2134803580"/>
            <ac:spMk id="714" creationId="{F682B8D6-FDD7-4DAD-834C-21C933488D8F}"/>
          </ac:spMkLst>
        </pc:spChg>
        <pc:spChg chg="mod">
          <ac:chgData name="Pierre Cavaroc" userId="150eff99-6aed-48f0-b13c-cabd0a4b3ac2" providerId="ADAL" clId="{E623609C-0EF4-4ECB-A655-127E285B354B}" dt="2021-03-21T23:02:53.691" v="6047" actId="27803"/>
          <ac:spMkLst>
            <pc:docMk/>
            <pc:sldMk cId="2136510916" sldId="2134803580"/>
            <ac:spMk id="715" creationId="{128F622E-F126-4F1B-BDBE-2FE61460964B}"/>
          </ac:spMkLst>
        </pc:spChg>
        <pc:spChg chg="mod">
          <ac:chgData name="Pierre Cavaroc" userId="150eff99-6aed-48f0-b13c-cabd0a4b3ac2" providerId="ADAL" clId="{E623609C-0EF4-4ECB-A655-127E285B354B}" dt="2021-03-21T23:02:53.691" v="6047" actId="27803"/>
          <ac:spMkLst>
            <pc:docMk/>
            <pc:sldMk cId="2136510916" sldId="2134803580"/>
            <ac:spMk id="716" creationId="{AEBD9AA6-901D-4FBC-9730-EB4108DEF2B1}"/>
          </ac:spMkLst>
        </pc:spChg>
        <pc:spChg chg="mod">
          <ac:chgData name="Pierre Cavaroc" userId="150eff99-6aed-48f0-b13c-cabd0a4b3ac2" providerId="ADAL" clId="{E623609C-0EF4-4ECB-A655-127E285B354B}" dt="2021-03-21T23:02:53.691" v="6047" actId="27803"/>
          <ac:spMkLst>
            <pc:docMk/>
            <pc:sldMk cId="2136510916" sldId="2134803580"/>
            <ac:spMk id="717" creationId="{F8D2A5CA-62B8-404E-B618-09B381BAFDE6}"/>
          </ac:spMkLst>
        </pc:spChg>
        <pc:spChg chg="mod">
          <ac:chgData name="Pierre Cavaroc" userId="150eff99-6aed-48f0-b13c-cabd0a4b3ac2" providerId="ADAL" clId="{E623609C-0EF4-4ECB-A655-127E285B354B}" dt="2021-03-21T23:02:53.691" v="6047" actId="27803"/>
          <ac:spMkLst>
            <pc:docMk/>
            <pc:sldMk cId="2136510916" sldId="2134803580"/>
            <ac:spMk id="718" creationId="{6980B7D9-E728-40F2-AD7F-FFF01226857F}"/>
          </ac:spMkLst>
        </pc:spChg>
        <pc:spChg chg="mod">
          <ac:chgData name="Pierre Cavaroc" userId="150eff99-6aed-48f0-b13c-cabd0a4b3ac2" providerId="ADAL" clId="{E623609C-0EF4-4ECB-A655-127E285B354B}" dt="2021-03-21T23:02:53.691" v="6047" actId="27803"/>
          <ac:spMkLst>
            <pc:docMk/>
            <pc:sldMk cId="2136510916" sldId="2134803580"/>
            <ac:spMk id="719" creationId="{3A3DE342-85A5-4EE0-9D79-F19F7E08983F}"/>
          </ac:spMkLst>
        </pc:spChg>
        <pc:spChg chg="mod">
          <ac:chgData name="Pierre Cavaroc" userId="150eff99-6aed-48f0-b13c-cabd0a4b3ac2" providerId="ADAL" clId="{E623609C-0EF4-4ECB-A655-127E285B354B}" dt="2021-03-21T23:02:53.691" v="6047" actId="27803"/>
          <ac:spMkLst>
            <pc:docMk/>
            <pc:sldMk cId="2136510916" sldId="2134803580"/>
            <ac:spMk id="720" creationId="{D30B213E-1B36-45D9-924C-297B7D24C85A}"/>
          </ac:spMkLst>
        </pc:spChg>
        <pc:spChg chg="mod">
          <ac:chgData name="Pierre Cavaroc" userId="150eff99-6aed-48f0-b13c-cabd0a4b3ac2" providerId="ADAL" clId="{E623609C-0EF4-4ECB-A655-127E285B354B}" dt="2021-03-21T23:02:53.691" v="6047" actId="27803"/>
          <ac:spMkLst>
            <pc:docMk/>
            <pc:sldMk cId="2136510916" sldId="2134803580"/>
            <ac:spMk id="721" creationId="{8933575C-F25C-467A-8B5C-01BD403F5900}"/>
          </ac:spMkLst>
        </pc:spChg>
        <pc:spChg chg="mod">
          <ac:chgData name="Pierre Cavaroc" userId="150eff99-6aed-48f0-b13c-cabd0a4b3ac2" providerId="ADAL" clId="{E623609C-0EF4-4ECB-A655-127E285B354B}" dt="2021-03-21T23:02:53.691" v="6047" actId="27803"/>
          <ac:spMkLst>
            <pc:docMk/>
            <pc:sldMk cId="2136510916" sldId="2134803580"/>
            <ac:spMk id="722" creationId="{975D4856-7977-4570-BD62-C9F57389FE79}"/>
          </ac:spMkLst>
        </pc:spChg>
        <pc:spChg chg="mod">
          <ac:chgData name="Pierre Cavaroc" userId="150eff99-6aed-48f0-b13c-cabd0a4b3ac2" providerId="ADAL" clId="{E623609C-0EF4-4ECB-A655-127E285B354B}" dt="2021-03-21T23:02:53.691" v="6047" actId="27803"/>
          <ac:spMkLst>
            <pc:docMk/>
            <pc:sldMk cId="2136510916" sldId="2134803580"/>
            <ac:spMk id="723" creationId="{126742A4-89E1-496C-99E8-16E429748614}"/>
          </ac:spMkLst>
        </pc:spChg>
        <pc:spChg chg="mod">
          <ac:chgData name="Pierre Cavaroc" userId="150eff99-6aed-48f0-b13c-cabd0a4b3ac2" providerId="ADAL" clId="{E623609C-0EF4-4ECB-A655-127E285B354B}" dt="2021-03-21T23:02:53.691" v="6047" actId="27803"/>
          <ac:spMkLst>
            <pc:docMk/>
            <pc:sldMk cId="2136510916" sldId="2134803580"/>
            <ac:spMk id="724" creationId="{D4B6D9C2-A298-4855-A2A2-2F4E0958CC38}"/>
          </ac:spMkLst>
        </pc:spChg>
        <pc:spChg chg="mod">
          <ac:chgData name="Pierre Cavaroc" userId="150eff99-6aed-48f0-b13c-cabd0a4b3ac2" providerId="ADAL" clId="{E623609C-0EF4-4ECB-A655-127E285B354B}" dt="2021-03-21T23:02:53.691" v="6047" actId="27803"/>
          <ac:spMkLst>
            <pc:docMk/>
            <pc:sldMk cId="2136510916" sldId="2134803580"/>
            <ac:spMk id="725" creationId="{F5F99515-315B-4AA8-9300-521C08017D3E}"/>
          </ac:spMkLst>
        </pc:spChg>
        <pc:spChg chg="mod">
          <ac:chgData name="Pierre Cavaroc" userId="150eff99-6aed-48f0-b13c-cabd0a4b3ac2" providerId="ADAL" clId="{E623609C-0EF4-4ECB-A655-127E285B354B}" dt="2021-03-21T23:02:53.691" v="6047" actId="27803"/>
          <ac:spMkLst>
            <pc:docMk/>
            <pc:sldMk cId="2136510916" sldId="2134803580"/>
            <ac:spMk id="726" creationId="{96636158-E8BB-4A29-8489-D53DA744FC74}"/>
          </ac:spMkLst>
        </pc:spChg>
        <pc:spChg chg="mod">
          <ac:chgData name="Pierre Cavaroc" userId="150eff99-6aed-48f0-b13c-cabd0a4b3ac2" providerId="ADAL" clId="{E623609C-0EF4-4ECB-A655-127E285B354B}" dt="2021-03-21T23:02:53.691" v="6047" actId="27803"/>
          <ac:spMkLst>
            <pc:docMk/>
            <pc:sldMk cId="2136510916" sldId="2134803580"/>
            <ac:spMk id="727" creationId="{983FCA28-2FB0-4F6F-9D88-DE4A7B2AADC8}"/>
          </ac:spMkLst>
        </pc:spChg>
        <pc:spChg chg="mod">
          <ac:chgData name="Pierre Cavaroc" userId="150eff99-6aed-48f0-b13c-cabd0a4b3ac2" providerId="ADAL" clId="{E623609C-0EF4-4ECB-A655-127E285B354B}" dt="2021-03-21T23:02:53.691" v="6047" actId="27803"/>
          <ac:spMkLst>
            <pc:docMk/>
            <pc:sldMk cId="2136510916" sldId="2134803580"/>
            <ac:spMk id="728" creationId="{D7B3827F-9B71-4E85-8C57-6925D3D8CA6D}"/>
          </ac:spMkLst>
        </pc:spChg>
        <pc:spChg chg="mod">
          <ac:chgData name="Pierre Cavaroc" userId="150eff99-6aed-48f0-b13c-cabd0a4b3ac2" providerId="ADAL" clId="{E623609C-0EF4-4ECB-A655-127E285B354B}" dt="2021-03-21T23:02:53.691" v="6047" actId="27803"/>
          <ac:spMkLst>
            <pc:docMk/>
            <pc:sldMk cId="2136510916" sldId="2134803580"/>
            <ac:spMk id="729" creationId="{14472869-8CA7-4133-82F7-7A93203EB95E}"/>
          </ac:spMkLst>
        </pc:spChg>
        <pc:spChg chg="mod">
          <ac:chgData name="Pierre Cavaroc" userId="150eff99-6aed-48f0-b13c-cabd0a4b3ac2" providerId="ADAL" clId="{E623609C-0EF4-4ECB-A655-127E285B354B}" dt="2021-03-21T23:02:53.691" v="6047" actId="27803"/>
          <ac:spMkLst>
            <pc:docMk/>
            <pc:sldMk cId="2136510916" sldId="2134803580"/>
            <ac:spMk id="730" creationId="{EB21CF5C-2784-4C15-B4F2-F9B84640BB51}"/>
          </ac:spMkLst>
        </pc:spChg>
        <pc:spChg chg="mod">
          <ac:chgData name="Pierre Cavaroc" userId="150eff99-6aed-48f0-b13c-cabd0a4b3ac2" providerId="ADAL" clId="{E623609C-0EF4-4ECB-A655-127E285B354B}" dt="2021-03-21T23:02:53.691" v="6047" actId="27803"/>
          <ac:spMkLst>
            <pc:docMk/>
            <pc:sldMk cId="2136510916" sldId="2134803580"/>
            <ac:spMk id="731" creationId="{AE2FF65E-5F66-47B5-B0E3-272AD6206196}"/>
          </ac:spMkLst>
        </pc:spChg>
        <pc:spChg chg="mod">
          <ac:chgData name="Pierre Cavaroc" userId="150eff99-6aed-48f0-b13c-cabd0a4b3ac2" providerId="ADAL" clId="{E623609C-0EF4-4ECB-A655-127E285B354B}" dt="2021-03-21T23:02:53.691" v="6047" actId="27803"/>
          <ac:spMkLst>
            <pc:docMk/>
            <pc:sldMk cId="2136510916" sldId="2134803580"/>
            <ac:spMk id="732" creationId="{37AD2A3D-7F16-461A-8E3F-1F7A15A3AD0D}"/>
          </ac:spMkLst>
        </pc:spChg>
        <pc:spChg chg="mod">
          <ac:chgData name="Pierre Cavaroc" userId="150eff99-6aed-48f0-b13c-cabd0a4b3ac2" providerId="ADAL" clId="{E623609C-0EF4-4ECB-A655-127E285B354B}" dt="2021-03-21T23:02:53.691" v="6047" actId="27803"/>
          <ac:spMkLst>
            <pc:docMk/>
            <pc:sldMk cId="2136510916" sldId="2134803580"/>
            <ac:spMk id="733" creationId="{33D409C3-9885-48B3-BB62-9CB8CA5FE6C7}"/>
          </ac:spMkLst>
        </pc:spChg>
        <pc:spChg chg="mod">
          <ac:chgData name="Pierre Cavaroc" userId="150eff99-6aed-48f0-b13c-cabd0a4b3ac2" providerId="ADAL" clId="{E623609C-0EF4-4ECB-A655-127E285B354B}" dt="2021-03-21T23:02:53.691" v="6047" actId="27803"/>
          <ac:spMkLst>
            <pc:docMk/>
            <pc:sldMk cId="2136510916" sldId="2134803580"/>
            <ac:spMk id="734" creationId="{4949400D-42B0-41EB-92D3-DBE37A145E03}"/>
          </ac:spMkLst>
        </pc:spChg>
        <pc:spChg chg="mod">
          <ac:chgData name="Pierre Cavaroc" userId="150eff99-6aed-48f0-b13c-cabd0a4b3ac2" providerId="ADAL" clId="{E623609C-0EF4-4ECB-A655-127E285B354B}" dt="2021-03-21T23:02:53.691" v="6047" actId="27803"/>
          <ac:spMkLst>
            <pc:docMk/>
            <pc:sldMk cId="2136510916" sldId="2134803580"/>
            <ac:spMk id="735" creationId="{2140B5D1-5339-446E-92CC-E809ED9FBB9C}"/>
          </ac:spMkLst>
        </pc:spChg>
        <pc:spChg chg="mod">
          <ac:chgData name="Pierre Cavaroc" userId="150eff99-6aed-48f0-b13c-cabd0a4b3ac2" providerId="ADAL" clId="{E623609C-0EF4-4ECB-A655-127E285B354B}" dt="2021-03-21T23:02:53.691" v="6047" actId="27803"/>
          <ac:spMkLst>
            <pc:docMk/>
            <pc:sldMk cId="2136510916" sldId="2134803580"/>
            <ac:spMk id="736" creationId="{178BADCE-2630-40C7-93E4-9794AC7011B6}"/>
          </ac:spMkLst>
        </pc:spChg>
        <pc:spChg chg="mod">
          <ac:chgData name="Pierre Cavaroc" userId="150eff99-6aed-48f0-b13c-cabd0a4b3ac2" providerId="ADAL" clId="{E623609C-0EF4-4ECB-A655-127E285B354B}" dt="2021-03-21T23:02:53.691" v="6047" actId="27803"/>
          <ac:spMkLst>
            <pc:docMk/>
            <pc:sldMk cId="2136510916" sldId="2134803580"/>
            <ac:spMk id="737" creationId="{1E29A9FB-CCB2-4DB7-88DF-D590CAF0C07E}"/>
          </ac:spMkLst>
        </pc:spChg>
        <pc:spChg chg="mod">
          <ac:chgData name="Pierre Cavaroc" userId="150eff99-6aed-48f0-b13c-cabd0a4b3ac2" providerId="ADAL" clId="{E623609C-0EF4-4ECB-A655-127E285B354B}" dt="2021-03-21T23:02:53.691" v="6047" actId="27803"/>
          <ac:spMkLst>
            <pc:docMk/>
            <pc:sldMk cId="2136510916" sldId="2134803580"/>
            <ac:spMk id="738" creationId="{E1D5D384-0F89-4770-93EB-D58064AE69C6}"/>
          </ac:spMkLst>
        </pc:spChg>
        <pc:spChg chg="mod">
          <ac:chgData name="Pierre Cavaroc" userId="150eff99-6aed-48f0-b13c-cabd0a4b3ac2" providerId="ADAL" clId="{E623609C-0EF4-4ECB-A655-127E285B354B}" dt="2021-03-21T23:02:53.691" v="6047" actId="27803"/>
          <ac:spMkLst>
            <pc:docMk/>
            <pc:sldMk cId="2136510916" sldId="2134803580"/>
            <ac:spMk id="739" creationId="{74415BBC-C249-4433-8E5E-05E698451652}"/>
          </ac:spMkLst>
        </pc:spChg>
        <pc:spChg chg="mod">
          <ac:chgData name="Pierre Cavaroc" userId="150eff99-6aed-48f0-b13c-cabd0a4b3ac2" providerId="ADAL" clId="{E623609C-0EF4-4ECB-A655-127E285B354B}" dt="2021-03-21T23:02:53.691" v="6047" actId="27803"/>
          <ac:spMkLst>
            <pc:docMk/>
            <pc:sldMk cId="2136510916" sldId="2134803580"/>
            <ac:spMk id="740" creationId="{6373CAF6-607D-4961-8EAA-DE0C619635B6}"/>
          </ac:spMkLst>
        </pc:spChg>
        <pc:spChg chg="mod">
          <ac:chgData name="Pierre Cavaroc" userId="150eff99-6aed-48f0-b13c-cabd0a4b3ac2" providerId="ADAL" clId="{E623609C-0EF4-4ECB-A655-127E285B354B}" dt="2021-03-21T23:02:53.691" v="6047" actId="27803"/>
          <ac:spMkLst>
            <pc:docMk/>
            <pc:sldMk cId="2136510916" sldId="2134803580"/>
            <ac:spMk id="741" creationId="{549C8B65-4551-4C76-946B-79203F6B01A4}"/>
          </ac:spMkLst>
        </pc:spChg>
        <pc:spChg chg="mod">
          <ac:chgData name="Pierre Cavaroc" userId="150eff99-6aed-48f0-b13c-cabd0a4b3ac2" providerId="ADAL" clId="{E623609C-0EF4-4ECB-A655-127E285B354B}" dt="2021-03-21T23:02:53.691" v="6047" actId="27803"/>
          <ac:spMkLst>
            <pc:docMk/>
            <pc:sldMk cId="2136510916" sldId="2134803580"/>
            <ac:spMk id="742" creationId="{F4C47BC8-575B-4897-AD01-5C329D7F9445}"/>
          </ac:spMkLst>
        </pc:spChg>
        <pc:spChg chg="mod">
          <ac:chgData name="Pierre Cavaroc" userId="150eff99-6aed-48f0-b13c-cabd0a4b3ac2" providerId="ADAL" clId="{E623609C-0EF4-4ECB-A655-127E285B354B}" dt="2021-03-21T23:02:53.691" v="6047" actId="27803"/>
          <ac:spMkLst>
            <pc:docMk/>
            <pc:sldMk cId="2136510916" sldId="2134803580"/>
            <ac:spMk id="743" creationId="{DB319B28-A215-42CF-8248-6E09545FC50E}"/>
          </ac:spMkLst>
        </pc:spChg>
        <pc:spChg chg="mod">
          <ac:chgData name="Pierre Cavaroc" userId="150eff99-6aed-48f0-b13c-cabd0a4b3ac2" providerId="ADAL" clId="{E623609C-0EF4-4ECB-A655-127E285B354B}" dt="2021-03-21T23:02:53.691" v="6047" actId="27803"/>
          <ac:spMkLst>
            <pc:docMk/>
            <pc:sldMk cId="2136510916" sldId="2134803580"/>
            <ac:spMk id="744" creationId="{D2BB4CFF-12FB-4220-AEBB-8DB929F2F48D}"/>
          </ac:spMkLst>
        </pc:spChg>
        <pc:spChg chg="mod">
          <ac:chgData name="Pierre Cavaroc" userId="150eff99-6aed-48f0-b13c-cabd0a4b3ac2" providerId="ADAL" clId="{E623609C-0EF4-4ECB-A655-127E285B354B}" dt="2021-03-21T23:02:53.691" v="6047" actId="27803"/>
          <ac:spMkLst>
            <pc:docMk/>
            <pc:sldMk cId="2136510916" sldId="2134803580"/>
            <ac:spMk id="745" creationId="{9CF9EC35-A868-47E1-B37A-5466B7D3B50A}"/>
          </ac:spMkLst>
        </pc:spChg>
        <pc:spChg chg="mod">
          <ac:chgData name="Pierre Cavaroc" userId="150eff99-6aed-48f0-b13c-cabd0a4b3ac2" providerId="ADAL" clId="{E623609C-0EF4-4ECB-A655-127E285B354B}" dt="2021-03-21T23:02:53.691" v="6047" actId="27803"/>
          <ac:spMkLst>
            <pc:docMk/>
            <pc:sldMk cId="2136510916" sldId="2134803580"/>
            <ac:spMk id="746" creationId="{96921AD3-902E-448F-BE93-FF0EAEB39A22}"/>
          </ac:spMkLst>
        </pc:spChg>
        <pc:spChg chg="mod">
          <ac:chgData name="Pierre Cavaroc" userId="150eff99-6aed-48f0-b13c-cabd0a4b3ac2" providerId="ADAL" clId="{E623609C-0EF4-4ECB-A655-127E285B354B}" dt="2021-03-21T23:02:53.691" v="6047" actId="27803"/>
          <ac:spMkLst>
            <pc:docMk/>
            <pc:sldMk cId="2136510916" sldId="2134803580"/>
            <ac:spMk id="747" creationId="{AFB8CD92-FF03-401F-A308-CCE389A82A52}"/>
          </ac:spMkLst>
        </pc:spChg>
        <pc:spChg chg="mod">
          <ac:chgData name="Pierre Cavaroc" userId="150eff99-6aed-48f0-b13c-cabd0a4b3ac2" providerId="ADAL" clId="{E623609C-0EF4-4ECB-A655-127E285B354B}" dt="2021-03-21T23:02:53.691" v="6047" actId="27803"/>
          <ac:spMkLst>
            <pc:docMk/>
            <pc:sldMk cId="2136510916" sldId="2134803580"/>
            <ac:spMk id="748" creationId="{81E0369E-1D62-404C-8166-3DC88CF457C6}"/>
          </ac:spMkLst>
        </pc:spChg>
        <pc:spChg chg="mod">
          <ac:chgData name="Pierre Cavaroc" userId="150eff99-6aed-48f0-b13c-cabd0a4b3ac2" providerId="ADAL" clId="{E623609C-0EF4-4ECB-A655-127E285B354B}" dt="2021-03-21T23:02:53.691" v="6047" actId="27803"/>
          <ac:spMkLst>
            <pc:docMk/>
            <pc:sldMk cId="2136510916" sldId="2134803580"/>
            <ac:spMk id="749" creationId="{1B297454-4717-4555-8A75-89715C76BFA0}"/>
          </ac:spMkLst>
        </pc:spChg>
        <pc:spChg chg="mod">
          <ac:chgData name="Pierre Cavaroc" userId="150eff99-6aed-48f0-b13c-cabd0a4b3ac2" providerId="ADAL" clId="{E623609C-0EF4-4ECB-A655-127E285B354B}" dt="2021-03-21T23:02:53.691" v="6047" actId="27803"/>
          <ac:spMkLst>
            <pc:docMk/>
            <pc:sldMk cId="2136510916" sldId="2134803580"/>
            <ac:spMk id="750" creationId="{3CA60635-F8FA-4BB5-B0F0-09FCF622AB16}"/>
          </ac:spMkLst>
        </pc:spChg>
        <pc:spChg chg="mod">
          <ac:chgData name="Pierre Cavaroc" userId="150eff99-6aed-48f0-b13c-cabd0a4b3ac2" providerId="ADAL" clId="{E623609C-0EF4-4ECB-A655-127E285B354B}" dt="2021-03-21T23:02:53.691" v="6047" actId="27803"/>
          <ac:spMkLst>
            <pc:docMk/>
            <pc:sldMk cId="2136510916" sldId="2134803580"/>
            <ac:spMk id="751" creationId="{DBB9B920-3A2C-45F9-BC8C-0F4369602241}"/>
          </ac:spMkLst>
        </pc:spChg>
        <pc:spChg chg="mod">
          <ac:chgData name="Pierre Cavaroc" userId="150eff99-6aed-48f0-b13c-cabd0a4b3ac2" providerId="ADAL" clId="{E623609C-0EF4-4ECB-A655-127E285B354B}" dt="2021-03-21T23:02:53.691" v="6047" actId="27803"/>
          <ac:spMkLst>
            <pc:docMk/>
            <pc:sldMk cId="2136510916" sldId="2134803580"/>
            <ac:spMk id="752" creationId="{C9DCB85F-8C12-44F1-A824-7C986247437C}"/>
          </ac:spMkLst>
        </pc:spChg>
        <pc:spChg chg="mod">
          <ac:chgData name="Pierre Cavaroc" userId="150eff99-6aed-48f0-b13c-cabd0a4b3ac2" providerId="ADAL" clId="{E623609C-0EF4-4ECB-A655-127E285B354B}" dt="2021-03-21T23:02:53.691" v="6047" actId="27803"/>
          <ac:spMkLst>
            <pc:docMk/>
            <pc:sldMk cId="2136510916" sldId="2134803580"/>
            <ac:spMk id="753" creationId="{5D007860-602E-4C3D-B7A4-C3B845316277}"/>
          </ac:spMkLst>
        </pc:spChg>
        <pc:spChg chg="mod">
          <ac:chgData name="Pierre Cavaroc" userId="150eff99-6aed-48f0-b13c-cabd0a4b3ac2" providerId="ADAL" clId="{E623609C-0EF4-4ECB-A655-127E285B354B}" dt="2021-03-21T23:02:53.691" v="6047" actId="27803"/>
          <ac:spMkLst>
            <pc:docMk/>
            <pc:sldMk cId="2136510916" sldId="2134803580"/>
            <ac:spMk id="754" creationId="{B70B8AE1-27DC-4DBD-A74E-FB8F2DCC930D}"/>
          </ac:spMkLst>
        </pc:spChg>
        <pc:spChg chg="mod">
          <ac:chgData name="Pierre Cavaroc" userId="150eff99-6aed-48f0-b13c-cabd0a4b3ac2" providerId="ADAL" clId="{E623609C-0EF4-4ECB-A655-127E285B354B}" dt="2021-03-21T23:02:53.691" v="6047" actId="27803"/>
          <ac:spMkLst>
            <pc:docMk/>
            <pc:sldMk cId="2136510916" sldId="2134803580"/>
            <ac:spMk id="755" creationId="{41E14E91-4D2C-4F0D-B5D4-5A2D1F3D5A48}"/>
          </ac:spMkLst>
        </pc:spChg>
        <pc:spChg chg="mod">
          <ac:chgData name="Pierre Cavaroc" userId="150eff99-6aed-48f0-b13c-cabd0a4b3ac2" providerId="ADAL" clId="{E623609C-0EF4-4ECB-A655-127E285B354B}" dt="2021-03-21T23:02:53.691" v="6047" actId="27803"/>
          <ac:spMkLst>
            <pc:docMk/>
            <pc:sldMk cId="2136510916" sldId="2134803580"/>
            <ac:spMk id="756" creationId="{35D2126E-2163-4A76-BE2A-4C58E86A3A1F}"/>
          </ac:spMkLst>
        </pc:spChg>
        <pc:spChg chg="mod">
          <ac:chgData name="Pierre Cavaroc" userId="150eff99-6aed-48f0-b13c-cabd0a4b3ac2" providerId="ADAL" clId="{E623609C-0EF4-4ECB-A655-127E285B354B}" dt="2021-03-21T23:02:53.691" v="6047" actId="27803"/>
          <ac:spMkLst>
            <pc:docMk/>
            <pc:sldMk cId="2136510916" sldId="2134803580"/>
            <ac:spMk id="757" creationId="{59245470-53BB-4F8D-812C-1FE16039EF51}"/>
          </ac:spMkLst>
        </pc:spChg>
        <pc:spChg chg="mod">
          <ac:chgData name="Pierre Cavaroc" userId="150eff99-6aed-48f0-b13c-cabd0a4b3ac2" providerId="ADAL" clId="{E623609C-0EF4-4ECB-A655-127E285B354B}" dt="2021-03-21T23:02:53.691" v="6047" actId="27803"/>
          <ac:spMkLst>
            <pc:docMk/>
            <pc:sldMk cId="2136510916" sldId="2134803580"/>
            <ac:spMk id="758" creationId="{22F820F7-CFE1-42FE-A73F-4A55D2ED4292}"/>
          </ac:spMkLst>
        </pc:spChg>
        <pc:spChg chg="mod">
          <ac:chgData name="Pierre Cavaroc" userId="150eff99-6aed-48f0-b13c-cabd0a4b3ac2" providerId="ADAL" clId="{E623609C-0EF4-4ECB-A655-127E285B354B}" dt="2021-03-21T23:02:53.691" v="6047" actId="27803"/>
          <ac:spMkLst>
            <pc:docMk/>
            <pc:sldMk cId="2136510916" sldId="2134803580"/>
            <ac:spMk id="759" creationId="{F4F51E17-2263-47E4-A451-608BF4DCDE7A}"/>
          </ac:spMkLst>
        </pc:spChg>
        <pc:spChg chg="mod">
          <ac:chgData name="Pierre Cavaroc" userId="150eff99-6aed-48f0-b13c-cabd0a4b3ac2" providerId="ADAL" clId="{E623609C-0EF4-4ECB-A655-127E285B354B}" dt="2021-03-21T23:02:53.691" v="6047" actId="27803"/>
          <ac:spMkLst>
            <pc:docMk/>
            <pc:sldMk cId="2136510916" sldId="2134803580"/>
            <ac:spMk id="760" creationId="{07B5E9C1-BF93-484C-AB1D-9D94C695A6DB}"/>
          </ac:spMkLst>
        </pc:spChg>
        <pc:spChg chg="mod">
          <ac:chgData name="Pierre Cavaroc" userId="150eff99-6aed-48f0-b13c-cabd0a4b3ac2" providerId="ADAL" clId="{E623609C-0EF4-4ECB-A655-127E285B354B}" dt="2021-03-21T23:02:53.691" v="6047" actId="27803"/>
          <ac:spMkLst>
            <pc:docMk/>
            <pc:sldMk cId="2136510916" sldId="2134803580"/>
            <ac:spMk id="761" creationId="{628846C0-BBD1-4930-A892-3621C6633634}"/>
          </ac:spMkLst>
        </pc:spChg>
        <pc:spChg chg="mod">
          <ac:chgData name="Pierre Cavaroc" userId="150eff99-6aed-48f0-b13c-cabd0a4b3ac2" providerId="ADAL" clId="{E623609C-0EF4-4ECB-A655-127E285B354B}" dt="2021-03-21T23:02:53.691" v="6047" actId="27803"/>
          <ac:spMkLst>
            <pc:docMk/>
            <pc:sldMk cId="2136510916" sldId="2134803580"/>
            <ac:spMk id="762" creationId="{AC7A9E57-154C-49DC-A140-E70E5CB22145}"/>
          </ac:spMkLst>
        </pc:spChg>
        <pc:spChg chg="mod">
          <ac:chgData name="Pierre Cavaroc" userId="150eff99-6aed-48f0-b13c-cabd0a4b3ac2" providerId="ADAL" clId="{E623609C-0EF4-4ECB-A655-127E285B354B}" dt="2021-03-21T23:02:53.691" v="6047" actId="27803"/>
          <ac:spMkLst>
            <pc:docMk/>
            <pc:sldMk cId="2136510916" sldId="2134803580"/>
            <ac:spMk id="763" creationId="{69B4044B-33EA-4BD5-A1A5-DE1D571E9640}"/>
          </ac:spMkLst>
        </pc:spChg>
        <pc:spChg chg="mod">
          <ac:chgData name="Pierre Cavaroc" userId="150eff99-6aed-48f0-b13c-cabd0a4b3ac2" providerId="ADAL" clId="{E623609C-0EF4-4ECB-A655-127E285B354B}" dt="2021-03-21T23:02:53.691" v="6047" actId="27803"/>
          <ac:spMkLst>
            <pc:docMk/>
            <pc:sldMk cId="2136510916" sldId="2134803580"/>
            <ac:spMk id="764" creationId="{B1F261FA-72BC-4F42-A8BC-6D901EAD322A}"/>
          </ac:spMkLst>
        </pc:spChg>
        <pc:spChg chg="mod">
          <ac:chgData name="Pierre Cavaroc" userId="150eff99-6aed-48f0-b13c-cabd0a4b3ac2" providerId="ADAL" clId="{E623609C-0EF4-4ECB-A655-127E285B354B}" dt="2021-03-21T23:02:53.691" v="6047" actId="27803"/>
          <ac:spMkLst>
            <pc:docMk/>
            <pc:sldMk cId="2136510916" sldId="2134803580"/>
            <ac:spMk id="765" creationId="{53917AF3-A2FF-4EE6-BD44-44CA5D87A0D0}"/>
          </ac:spMkLst>
        </pc:spChg>
        <pc:spChg chg="mod">
          <ac:chgData name="Pierre Cavaroc" userId="150eff99-6aed-48f0-b13c-cabd0a4b3ac2" providerId="ADAL" clId="{E623609C-0EF4-4ECB-A655-127E285B354B}" dt="2021-03-21T23:02:53.691" v="6047" actId="27803"/>
          <ac:spMkLst>
            <pc:docMk/>
            <pc:sldMk cId="2136510916" sldId="2134803580"/>
            <ac:spMk id="766" creationId="{1059D0B7-E8DA-4B30-AB25-F7476F83A81F}"/>
          </ac:spMkLst>
        </pc:spChg>
        <pc:spChg chg="mod">
          <ac:chgData name="Pierre Cavaroc" userId="150eff99-6aed-48f0-b13c-cabd0a4b3ac2" providerId="ADAL" clId="{E623609C-0EF4-4ECB-A655-127E285B354B}" dt="2021-03-21T23:02:53.691" v="6047" actId="27803"/>
          <ac:spMkLst>
            <pc:docMk/>
            <pc:sldMk cId="2136510916" sldId="2134803580"/>
            <ac:spMk id="767" creationId="{50E69C90-161A-4731-B7AA-E4F411B232EB}"/>
          </ac:spMkLst>
        </pc:spChg>
        <pc:spChg chg="mod">
          <ac:chgData name="Pierre Cavaroc" userId="150eff99-6aed-48f0-b13c-cabd0a4b3ac2" providerId="ADAL" clId="{E623609C-0EF4-4ECB-A655-127E285B354B}" dt="2021-03-21T23:02:53.691" v="6047" actId="27803"/>
          <ac:spMkLst>
            <pc:docMk/>
            <pc:sldMk cId="2136510916" sldId="2134803580"/>
            <ac:spMk id="768" creationId="{268E91BF-C31A-4A77-B8AA-263E50FB8FAA}"/>
          </ac:spMkLst>
        </pc:spChg>
        <pc:spChg chg="mod">
          <ac:chgData name="Pierre Cavaroc" userId="150eff99-6aed-48f0-b13c-cabd0a4b3ac2" providerId="ADAL" clId="{E623609C-0EF4-4ECB-A655-127E285B354B}" dt="2021-03-21T23:02:53.691" v="6047" actId="27803"/>
          <ac:spMkLst>
            <pc:docMk/>
            <pc:sldMk cId="2136510916" sldId="2134803580"/>
            <ac:spMk id="769" creationId="{F4B44CFD-BDAF-4FA2-82E2-4529AD71FE47}"/>
          </ac:spMkLst>
        </pc:spChg>
        <pc:spChg chg="mod">
          <ac:chgData name="Pierre Cavaroc" userId="150eff99-6aed-48f0-b13c-cabd0a4b3ac2" providerId="ADAL" clId="{E623609C-0EF4-4ECB-A655-127E285B354B}" dt="2021-03-21T23:02:53.691" v="6047" actId="27803"/>
          <ac:spMkLst>
            <pc:docMk/>
            <pc:sldMk cId="2136510916" sldId="2134803580"/>
            <ac:spMk id="770" creationId="{1402C8E3-96CB-48CA-88C0-65F90C26F97E}"/>
          </ac:spMkLst>
        </pc:spChg>
        <pc:spChg chg="mod">
          <ac:chgData name="Pierre Cavaroc" userId="150eff99-6aed-48f0-b13c-cabd0a4b3ac2" providerId="ADAL" clId="{E623609C-0EF4-4ECB-A655-127E285B354B}" dt="2021-03-21T23:02:53.691" v="6047" actId="27803"/>
          <ac:spMkLst>
            <pc:docMk/>
            <pc:sldMk cId="2136510916" sldId="2134803580"/>
            <ac:spMk id="771" creationId="{C79E55E7-720F-4762-B81E-42631C7B5DA3}"/>
          </ac:spMkLst>
        </pc:spChg>
        <pc:spChg chg="mod">
          <ac:chgData name="Pierre Cavaroc" userId="150eff99-6aed-48f0-b13c-cabd0a4b3ac2" providerId="ADAL" clId="{E623609C-0EF4-4ECB-A655-127E285B354B}" dt="2021-03-21T23:02:53.691" v="6047" actId="27803"/>
          <ac:spMkLst>
            <pc:docMk/>
            <pc:sldMk cId="2136510916" sldId="2134803580"/>
            <ac:spMk id="772" creationId="{30235650-65C9-4E1C-BDDA-EA6AE96632C5}"/>
          </ac:spMkLst>
        </pc:spChg>
        <pc:spChg chg="mod">
          <ac:chgData name="Pierre Cavaroc" userId="150eff99-6aed-48f0-b13c-cabd0a4b3ac2" providerId="ADAL" clId="{E623609C-0EF4-4ECB-A655-127E285B354B}" dt="2021-03-21T23:02:53.691" v="6047" actId="27803"/>
          <ac:spMkLst>
            <pc:docMk/>
            <pc:sldMk cId="2136510916" sldId="2134803580"/>
            <ac:spMk id="773" creationId="{810DC7DD-47BF-479C-AB3B-528B77E12DF8}"/>
          </ac:spMkLst>
        </pc:spChg>
        <pc:spChg chg="mod">
          <ac:chgData name="Pierre Cavaroc" userId="150eff99-6aed-48f0-b13c-cabd0a4b3ac2" providerId="ADAL" clId="{E623609C-0EF4-4ECB-A655-127E285B354B}" dt="2021-03-21T23:02:53.691" v="6047" actId="27803"/>
          <ac:spMkLst>
            <pc:docMk/>
            <pc:sldMk cId="2136510916" sldId="2134803580"/>
            <ac:spMk id="774" creationId="{2057BA83-E59C-41EF-BE79-F8266C1B53F5}"/>
          </ac:spMkLst>
        </pc:spChg>
        <pc:spChg chg="mod">
          <ac:chgData name="Pierre Cavaroc" userId="150eff99-6aed-48f0-b13c-cabd0a4b3ac2" providerId="ADAL" clId="{E623609C-0EF4-4ECB-A655-127E285B354B}" dt="2021-03-21T23:02:53.691" v="6047" actId="27803"/>
          <ac:spMkLst>
            <pc:docMk/>
            <pc:sldMk cId="2136510916" sldId="2134803580"/>
            <ac:spMk id="775" creationId="{36E00467-FDFA-4155-AA69-A9ADE28629F0}"/>
          </ac:spMkLst>
        </pc:spChg>
        <pc:spChg chg="mod">
          <ac:chgData name="Pierre Cavaroc" userId="150eff99-6aed-48f0-b13c-cabd0a4b3ac2" providerId="ADAL" clId="{E623609C-0EF4-4ECB-A655-127E285B354B}" dt="2021-03-21T23:02:53.691" v="6047" actId="27803"/>
          <ac:spMkLst>
            <pc:docMk/>
            <pc:sldMk cId="2136510916" sldId="2134803580"/>
            <ac:spMk id="776" creationId="{A34955B9-BE9D-4C5E-8610-634E1C40C25A}"/>
          </ac:spMkLst>
        </pc:spChg>
        <pc:spChg chg="mod">
          <ac:chgData name="Pierre Cavaroc" userId="150eff99-6aed-48f0-b13c-cabd0a4b3ac2" providerId="ADAL" clId="{E623609C-0EF4-4ECB-A655-127E285B354B}" dt="2021-03-21T23:02:53.691" v="6047" actId="27803"/>
          <ac:spMkLst>
            <pc:docMk/>
            <pc:sldMk cId="2136510916" sldId="2134803580"/>
            <ac:spMk id="777" creationId="{46792687-49AE-48ED-8944-824E2999235D}"/>
          </ac:spMkLst>
        </pc:spChg>
        <pc:spChg chg="mod">
          <ac:chgData name="Pierre Cavaroc" userId="150eff99-6aed-48f0-b13c-cabd0a4b3ac2" providerId="ADAL" clId="{E623609C-0EF4-4ECB-A655-127E285B354B}" dt="2021-03-21T23:02:53.691" v="6047" actId="27803"/>
          <ac:spMkLst>
            <pc:docMk/>
            <pc:sldMk cId="2136510916" sldId="2134803580"/>
            <ac:spMk id="778" creationId="{D9F3D1FF-A2B2-4511-B8B7-2B5E271D09A0}"/>
          </ac:spMkLst>
        </pc:spChg>
        <pc:spChg chg="mod">
          <ac:chgData name="Pierre Cavaroc" userId="150eff99-6aed-48f0-b13c-cabd0a4b3ac2" providerId="ADAL" clId="{E623609C-0EF4-4ECB-A655-127E285B354B}" dt="2021-03-21T23:02:53.691" v="6047" actId="27803"/>
          <ac:spMkLst>
            <pc:docMk/>
            <pc:sldMk cId="2136510916" sldId="2134803580"/>
            <ac:spMk id="779" creationId="{E05BE4CB-0BED-45DB-B05D-46A4E5830A7C}"/>
          </ac:spMkLst>
        </pc:spChg>
        <pc:spChg chg="mod">
          <ac:chgData name="Pierre Cavaroc" userId="150eff99-6aed-48f0-b13c-cabd0a4b3ac2" providerId="ADAL" clId="{E623609C-0EF4-4ECB-A655-127E285B354B}" dt="2021-03-21T23:02:53.691" v="6047" actId="27803"/>
          <ac:spMkLst>
            <pc:docMk/>
            <pc:sldMk cId="2136510916" sldId="2134803580"/>
            <ac:spMk id="780" creationId="{4B1BE7F3-F7E5-4D7B-B335-3EB20CA90D79}"/>
          </ac:spMkLst>
        </pc:spChg>
        <pc:spChg chg="mod">
          <ac:chgData name="Pierre Cavaroc" userId="150eff99-6aed-48f0-b13c-cabd0a4b3ac2" providerId="ADAL" clId="{E623609C-0EF4-4ECB-A655-127E285B354B}" dt="2021-03-21T23:02:53.691" v="6047" actId="27803"/>
          <ac:spMkLst>
            <pc:docMk/>
            <pc:sldMk cId="2136510916" sldId="2134803580"/>
            <ac:spMk id="781" creationId="{431C2A35-F807-4E10-A372-ADD3B7525E14}"/>
          </ac:spMkLst>
        </pc:spChg>
        <pc:spChg chg="mod">
          <ac:chgData name="Pierre Cavaroc" userId="150eff99-6aed-48f0-b13c-cabd0a4b3ac2" providerId="ADAL" clId="{E623609C-0EF4-4ECB-A655-127E285B354B}" dt="2021-03-21T23:02:53.691" v="6047" actId="27803"/>
          <ac:spMkLst>
            <pc:docMk/>
            <pc:sldMk cId="2136510916" sldId="2134803580"/>
            <ac:spMk id="782" creationId="{312A6A88-C0A4-4409-9880-7528B63469F0}"/>
          </ac:spMkLst>
        </pc:spChg>
        <pc:spChg chg="mod">
          <ac:chgData name="Pierre Cavaroc" userId="150eff99-6aed-48f0-b13c-cabd0a4b3ac2" providerId="ADAL" clId="{E623609C-0EF4-4ECB-A655-127E285B354B}" dt="2021-03-21T23:02:53.691" v="6047" actId="27803"/>
          <ac:spMkLst>
            <pc:docMk/>
            <pc:sldMk cId="2136510916" sldId="2134803580"/>
            <ac:spMk id="783" creationId="{6F9EF87C-9911-4D8D-8BB1-5ACC3A04569F}"/>
          </ac:spMkLst>
        </pc:spChg>
        <pc:spChg chg="mod">
          <ac:chgData name="Pierre Cavaroc" userId="150eff99-6aed-48f0-b13c-cabd0a4b3ac2" providerId="ADAL" clId="{E623609C-0EF4-4ECB-A655-127E285B354B}" dt="2021-03-21T23:02:53.691" v="6047" actId="27803"/>
          <ac:spMkLst>
            <pc:docMk/>
            <pc:sldMk cId="2136510916" sldId="2134803580"/>
            <ac:spMk id="784" creationId="{57061BAA-CE4B-462F-A287-85A79F91AC21}"/>
          </ac:spMkLst>
        </pc:spChg>
        <pc:spChg chg="mod">
          <ac:chgData name="Pierre Cavaroc" userId="150eff99-6aed-48f0-b13c-cabd0a4b3ac2" providerId="ADAL" clId="{E623609C-0EF4-4ECB-A655-127E285B354B}" dt="2021-03-21T23:02:53.691" v="6047" actId="27803"/>
          <ac:spMkLst>
            <pc:docMk/>
            <pc:sldMk cId="2136510916" sldId="2134803580"/>
            <ac:spMk id="785" creationId="{24AADF79-5A65-46ED-BD6D-DCDF766E6EFE}"/>
          </ac:spMkLst>
        </pc:spChg>
        <pc:spChg chg="mod">
          <ac:chgData name="Pierre Cavaroc" userId="150eff99-6aed-48f0-b13c-cabd0a4b3ac2" providerId="ADAL" clId="{E623609C-0EF4-4ECB-A655-127E285B354B}" dt="2021-03-21T23:02:53.691" v="6047" actId="27803"/>
          <ac:spMkLst>
            <pc:docMk/>
            <pc:sldMk cId="2136510916" sldId="2134803580"/>
            <ac:spMk id="786" creationId="{F1A97C00-8D5E-43C5-8355-83A72530A370}"/>
          </ac:spMkLst>
        </pc:spChg>
        <pc:spChg chg="mod">
          <ac:chgData name="Pierre Cavaroc" userId="150eff99-6aed-48f0-b13c-cabd0a4b3ac2" providerId="ADAL" clId="{E623609C-0EF4-4ECB-A655-127E285B354B}" dt="2021-03-21T23:02:53.691" v="6047" actId="27803"/>
          <ac:spMkLst>
            <pc:docMk/>
            <pc:sldMk cId="2136510916" sldId="2134803580"/>
            <ac:spMk id="787" creationId="{21455EC0-8EDF-40BD-80E2-DA651D48E956}"/>
          </ac:spMkLst>
        </pc:spChg>
        <pc:spChg chg="mod">
          <ac:chgData name="Pierre Cavaroc" userId="150eff99-6aed-48f0-b13c-cabd0a4b3ac2" providerId="ADAL" clId="{E623609C-0EF4-4ECB-A655-127E285B354B}" dt="2021-03-21T23:02:53.691" v="6047" actId="27803"/>
          <ac:spMkLst>
            <pc:docMk/>
            <pc:sldMk cId="2136510916" sldId="2134803580"/>
            <ac:spMk id="788" creationId="{2A46F2BD-7D8E-45CD-8A1A-448F3328682B}"/>
          </ac:spMkLst>
        </pc:spChg>
        <pc:spChg chg="mod">
          <ac:chgData name="Pierre Cavaroc" userId="150eff99-6aed-48f0-b13c-cabd0a4b3ac2" providerId="ADAL" clId="{E623609C-0EF4-4ECB-A655-127E285B354B}" dt="2021-03-21T23:02:53.691" v="6047" actId="27803"/>
          <ac:spMkLst>
            <pc:docMk/>
            <pc:sldMk cId="2136510916" sldId="2134803580"/>
            <ac:spMk id="789" creationId="{1A8BFC23-9C27-44A1-A272-A2F8EAEE4454}"/>
          </ac:spMkLst>
        </pc:spChg>
        <pc:spChg chg="mod">
          <ac:chgData name="Pierre Cavaroc" userId="150eff99-6aed-48f0-b13c-cabd0a4b3ac2" providerId="ADAL" clId="{E623609C-0EF4-4ECB-A655-127E285B354B}" dt="2021-03-21T23:02:53.691" v="6047" actId="27803"/>
          <ac:spMkLst>
            <pc:docMk/>
            <pc:sldMk cId="2136510916" sldId="2134803580"/>
            <ac:spMk id="790" creationId="{BFD191A6-3627-4E39-81B5-B104C61E380C}"/>
          </ac:spMkLst>
        </pc:spChg>
        <pc:spChg chg="mod">
          <ac:chgData name="Pierre Cavaroc" userId="150eff99-6aed-48f0-b13c-cabd0a4b3ac2" providerId="ADAL" clId="{E623609C-0EF4-4ECB-A655-127E285B354B}" dt="2021-03-21T23:02:53.691" v="6047" actId="27803"/>
          <ac:spMkLst>
            <pc:docMk/>
            <pc:sldMk cId="2136510916" sldId="2134803580"/>
            <ac:spMk id="791" creationId="{4644A3F9-126B-432C-BBD8-9584B15CDBC3}"/>
          </ac:spMkLst>
        </pc:spChg>
        <pc:spChg chg="mod">
          <ac:chgData name="Pierre Cavaroc" userId="150eff99-6aed-48f0-b13c-cabd0a4b3ac2" providerId="ADAL" clId="{E623609C-0EF4-4ECB-A655-127E285B354B}" dt="2021-03-21T23:02:53.691" v="6047" actId="27803"/>
          <ac:spMkLst>
            <pc:docMk/>
            <pc:sldMk cId="2136510916" sldId="2134803580"/>
            <ac:spMk id="792" creationId="{9EC11965-A0C8-4256-AFC9-C1179F4B430F}"/>
          </ac:spMkLst>
        </pc:spChg>
        <pc:spChg chg="mod">
          <ac:chgData name="Pierre Cavaroc" userId="150eff99-6aed-48f0-b13c-cabd0a4b3ac2" providerId="ADAL" clId="{E623609C-0EF4-4ECB-A655-127E285B354B}" dt="2021-03-21T23:02:53.691" v="6047" actId="27803"/>
          <ac:spMkLst>
            <pc:docMk/>
            <pc:sldMk cId="2136510916" sldId="2134803580"/>
            <ac:spMk id="793" creationId="{94262CA2-88AC-4698-AE7E-15385B0864B8}"/>
          </ac:spMkLst>
        </pc:spChg>
        <pc:spChg chg="mod">
          <ac:chgData name="Pierre Cavaroc" userId="150eff99-6aed-48f0-b13c-cabd0a4b3ac2" providerId="ADAL" clId="{E623609C-0EF4-4ECB-A655-127E285B354B}" dt="2021-03-21T23:02:53.691" v="6047" actId="27803"/>
          <ac:spMkLst>
            <pc:docMk/>
            <pc:sldMk cId="2136510916" sldId="2134803580"/>
            <ac:spMk id="794" creationId="{CD804DFF-CCCD-4F45-BBF2-6CFD80B91A02}"/>
          </ac:spMkLst>
        </pc:spChg>
        <pc:spChg chg="mod">
          <ac:chgData name="Pierre Cavaroc" userId="150eff99-6aed-48f0-b13c-cabd0a4b3ac2" providerId="ADAL" clId="{E623609C-0EF4-4ECB-A655-127E285B354B}" dt="2021-03-21T23:02:53.691" v="6047" actId="27803"/>
          <ac:spMkLst>
            <pc:docMk/>
            <pc:sldMk cId="2136510916" sldId="2134803580"/>
            <ac:spMk id="795" creationId="{1318C39F-586F-4DC6-95D7-B1D11E28E582}"/>
          </ac:spMkLst>
        </pc:spChg>
        <pc:spChg chg="mod">
          <ac:chgData name="Pierre Cavaroc" userId="150eff99-6aed-48f0-b13c-cabd0a4b3ac2" providerId="ADAL" clId="{E623609C-0EF4-4ECB-A655-127E285B354B}" dt="2021-03-21T23:02:53.691" v="6047" actId="27803"/>
          <ac:spMkLst>
            <pc:docMk/>
            <pc:sldMk cId="2136510916" sldId="2134803580"/>
            <ac:spMk id="796" creationId="{650DAC02-E285-4C28-959B-B8F98173FA06}"/>
          </ac:spMkLst>
        </pc:spChg>
        <pc:spChg chg="mod">
          <ac:chgData name="Pierre Cavaroc" userId="150eff99-6aed-48f0-b13c-cabd0a4b3ac2" providerId="ADAL" clId="{E623609C-0EF4-4ECB-A655-127E285B354B}" dt="2021-03-21T23:02:53.691" v="6047" actId="27803"/>
          <ac:spMkLst>
            <pc:docMk/>
            <pc:sldMk cId="2136510916" sldId="2134803580"/>
            <ac:spMk id="797" creationId="{C73D47FE-EC7D-4C77-A7E4-CAD03C85E562}"/>
          </ac:spMkLst>
        </pc:spChg>
        <pc:spChg chg="mod">
          <ac:chgData name="Pierre Cavaroc" userId="150eff99-6aed-48f0-b13c-cabd0a4b3ac2" providerId="ADAL" clId="{E623609C-0EF4-4ECB-A655-127E285B354B}" dt="2021-03-21T23:02:53.691" v="6047" actId="27803"/>
          <ac:spMkLst>
            <pc:docMk/>
            <pc:sldMk cId="2136510916" sldId="2134803580"/>
            <ac:spMk id="798" creationId="{31AADB15-CBB0-4584-B0F2-1B6684F26217}"/>
          </ac:spMkLst>
        </pc:spChg>
        <pc:spChg chg="mod">
          <ac:chgData name="Pierre Cavaroc" userId="150eff99-6aed-48f0-b13c-cabd0a4b3ac2" providerId="ADAL" clId="{E623609C-0EF4-4ECB-A655-127E285B354B}" dt="2021-03-21T23:02:53.691" v="6047" actId="27803"/>
          <ac:spMkLst>
            <pc:docMk/>
            <pc:sldMk cId="2136510916" sldId="2134803580"/>
            <ac:spMk id="799" creationId="{F5CEC88F-8F93-438E-9E59-D88234215429}"/>
          </ac:spMkLst>
        </pc:spChg>
        <pc:spChg chg="mod">
          <ac:chgData name="Pierre Cavaroc" userId="150eff99-6aed-48f0-b13c-cabd0a4b3ac2" providerId="ADAL" clId="{E623609C-0EF4-4ECB-A655-127E285B354B}" dt="2021-03-21T23:02:53.691" v="6047" actId="27803"/>
          <ac:spMkLst>
            <pc:docMk/>
            <pc:sldMk cId="2136510916" sldId="2134803580"/>
            <ac:spMk id="800" creationId="{26F51AD0-BB79-43BA-9B5E-ED307948E288}"/>
          </ac:spMkLst>
        </pc:spChg>
        <pc:spChg chg="mod">
          <ac:chgData name="Pierre Cavaroc" userId="150eff99-6aed-48f0-b13c-cabd0a4b3ac2" providerId="ADAL" clId="{E623609C-0EF4-4ECB-A655-127E285B354B}" dt="2021-03-21T23:02:53.691" v="6047" actId="27803"/>
          <ac:spMkLst>
            <pc:docMk/>
            <pc:sldMk cId="2136510916" sldId="2134803580"/>
            <ac:spMk id="801" creationId="{881DDD5C-0A8C-4F01-B2A2-37B7C9BB0C65}"/>
          </ac:spMkLst>
        </pc:spChg>
        <pc:spChg chg="mod">
          <ac:chgData name="Pierre Cavaroc" userId="150eff99-6aed-48f0-b13c-cabd0a4b3ac2" providerId="ADAL" clId="{E623609C-0EF4-4ECB-A655-127E285B354B}" dt="2021-03-21T23:02:53.691" v="6047" actId="27803"/>
          <ac:spMkLst>
            <pc:docMk/>
            <pc:sldMk cId="2136510916" sldId="2134803580"/>
            <ac:spMk id="802" creationId="{37BA72BC-2F3A-44B2-8D93-64E63387A89F}"/>
          </ac:spMkLst>
        </pc:spChg>
        <pc:spChg chg="mod">
          <ac:chgData name="Pierre Cavaroc" userId="150eff99-6aed-48f0-b13c-cabd0a4b3ac2" providerId="ADAL" clId="{E623609C-0EF4-4ECB-A655-127E285B354B}" dt="2021-03-21T23:02:53.691" v="6047" actId="27803"/>
          <ac:spMkLst>
            <pc:docMk/>
            <pc:sldMk cId="2136510916" sldId="2134803580"/>
            <ac:spMk id="803" creationId="{B5694D4B-5D27-45BB-ADC9-524B43B0B34F}"/>
          </ac:spMkLst>
        </pc:spChg>
        <pc:spChg chg="mod">
          <ac:chgData name="Pierre Cavaroc" userId="150eff99-6aed-48f0-b13c-cabd0a4b3ac2" providerId="ADAL" clId="{E623609C-0EF4-4ECB-A655-127E285B354B}" dt="2021-03-21T23:02:53.691" v="6047" actId="27803"/>
          <ac:spMkLst>
            <pc:docMk/>
            <pc:sldMk cId="2136510916" sldId="2134803580"/>
            <ac:spMk id="804" creationId="{DECF005F-4D59-434C-A0B5-DD2E4AEA8A9B}"/>
          </ac:spMkLst>
        </pc:spChg>
        <pc:spChg chg="mod">
          <ac:chgData name="Pierre Cavaroc" userId="150eff99-6aed-48f0-b13c-cabd0a4b3ac2" providerId="ADAL" clId="{E623609C-0EF4-4ECB-A655-127E285B354B}" dt="2021-03-21T23:02:53.691" v="6047" actId="27803"/>
          <ac:spMkLst>
            <pc:docMk/>
            <pc:sldMk cId="2136510916" sldId="2134803580"/>
            <ac:spMk id="805" creationId="{0A03DEF4-34C7-43E0-9CA4-EE24CB40AA3A}"/>
          </ac:spMkLst>
        </pc:spChg>
        <pc:spChg chg="mod">
          <ac:chgData name="Pierre Cavaroc" userId="150eff99-6aed-48f0-b13c-cabd0a4b3ac2" providerId="ADAL" clId="{E623609C-0EF4-4ECB-A655-127E285B354B}" dt="2021-03-21T23:02:53.691" v="6047" actId="27803"/>
          <ac:spMkLst>
            <pc:docMk/>
            <pc:sldMk cId="2136510916" sldId="2134803580"/>
            <ac:spMk id="806" creationId="{56DD1A8B-ED5E-4730-A3C1-432BDE3F026D}"/>
          </ac:spMkLst>
        </pc:spChg>
        <pc:spChg chg="mod">
          <ac:chgData name="Pierre Cavaroc" userId="150eff99-6aed-48f0-b13c-cabd0a4b3ac2" providerId="ADAL" clId="{E623609C-0EF4-4ECB-A655-127E285B354B}" dt="2021-03-21T23:02:53.691" v="6047" actId="27803"/>
          <ac:spMkLst>
            <pc:docMk/>
            <pc:sldMk cId="2136510916" sldId="2134803580"/>
            <ac:spMk id="807" creationId="{92019777-3DA4-44CF-93BC-E1BEF76B9C22}"/>
          </ac:spMkLst>
        </pc:spChg>
        <pc:spChg chg="mod">
          <ac:chgData name="Pierre Cavaroc" userId="150eff99-6aed-48f0-b13c-cabd0a4b3ac2" providerId="ADAL" clId="{E623609C-0EF4-4ECB-A655-127E285B354B}" dt="2021-03-21T23:02:53.691" v="6047" actId="27803"/>
          <ac:spMkLst>
            <pc:docMk/>
            <pc:sldMk cId="2136510916" sldId="2134803580"/>
            <ac:spMk id="808" creationId="{741C0421-C087-46CF-B497-0462734628C1}"/>
          </ac:spMkLst>
        </pc:spChg>
        <pc:spChg chg="mod">
          <ac:chgData name="Pierre Cavaroc" userId="150eff99-6aed-48f0-b13c-cabd0a4b3ac2" providerId="ADAL" clId="{E623609C-0EF4-4ECB-A655-127E285B354B}" dt="2021-03-21T23:02:53.691" v="6047" actId="27803"/>
          <ac:spMkLst>
            <pc:docMk/>
            <pc:sldMk cId="2136510916" sldId="2134803580"/>
            <ac:spMk id="809" creationId="{EAB8C921-89D6-4AEB-90C9-C80C51B3E460}"/>
          </ac:spMkLst>
        </pc:spChg>
        <pc:spChg chg="mod">
          <ac:chgData name="Pierre Cavaroc" userId="150eff99-6aed-48f0-b13c-cabd0a4b3ac2" providerId="ADAL" clId="{E623609C-0EF4-4ECB-A655-127E285B354B}" dt="2021-03-21T23:02:53.691" v="6047" actId="27803"/>
          <ac:spMkLst>
            <pc:docMk/>
            <pc:sldMk cId="2136510916" sldId="2134803580"/>
            <ac:spMk id="810" creationId="{8304CE8B-7CBA-4B02-BD71-B3903903D59E}"/>
          </ac:spMkLst>
        </pc:spChg>
        <pc:spChg chg="mod">
          <ac:chgData name="Pierre Cavaroc" userId="150eff99-6aed-48f0-b13c-cabd0a4b3ac2" providerId="ADAL" clId="{E623609C-0EF4-4ECB-A655-127E285B354B}" dt="2021-03-21T23:02:53.691" v="6047" actId="27803"/>
          <ac:spMkLst>
            <pc:docMk/>
            <pc:sldMk cId="2136510916" sldId="2134803580"/>
            <ac:spMk id="811" creationId="{CF21902A-4246-4C73-B5F4-EB95BFBB4320}"/>
          </ac:spMkLst>
        </pc:spChg>
        <pc:spChg chg="mod">
          <ac:chgData name="Pierre Cavaroc" userId="150eff99-6aed-48f0-b13c-cabd0a4b3ac2" providerId="ADAL" clId="{E623609C-0EF4-4ECB-A655-127E285B354B}" dt="2021-03-21T23:02:53.691" v="6047" actId="27803"/>
          <ac:spMkLst>
            <pc:docMk/>
            <pc:sldMk cId="2136510916" sldId="2134803580"/>
            <ac:spMk id="812" creationId="{583970E9-D8D2-407B-9049-CB78A875E896}"/>
          </ac:spMkLst>
        </pc:spChg>
        <pc:spChg chg="mod">
          <ac:chgData name="Pierre Cavaroc" userId="150eff99-6aed-48f0-b13c-cabd0a4b3ac2" providerId="ADAL" clId="{E623609C-0EF4-4ECB-A655-127E285B354B}" dt="2021-03-21T23:02:53.691" v="6047" actId="27803"/>
          <ac:spMkLst>
            <pc:docMk/>
            <pc:sldMk cId="2136510916" sldId="2134803580"/>
            <ac:spMk id="813" creationId="{037EA7B3-4A4C-4544-9ACA-317C6500E9A5}"/>
          </ac:spMkLst>
        </pc:spChg>
        <pc:spChg chg="mod">
          <ac:chgData name="Pierre Cavaroc" userId="150eff99-6aed-48f0-b13c-cabd0a4b3ac2" providerId="ADAL" clId="{E623609C-0EF4-4ECB-A655-127E285B354B}" dt="2021-03-21T23:02:53.691" v="6047" actId="27803"/>
          <ac:spMkLst>
            <pc:docMk/>
            <pc:sldMk cId="2136510916" sldId="2134803580"/>
            <ac:spMk id="814" creationId="{627BB6F9-BDA8-45DE-BBAB-CD13A2C518FF}"/>
          </ac:spMkLst>
        </pc:spChg>
        <pc:spChg chg="mod">
          <ac:chgData name="Pierre Cavaroc" userId="150eff99-6aed-48f0-b13c-cabd0a4b3ac2" providerId="ADAL" clId="{E623609C-0EF4-4ECB-A655-127E285B354B}" dt="2021-03-21T23:02:53.691" v="6047" actId="27803"/>
          <ac:spMkLst>
            <pc:docMk/>
            <pc:sldMk cId="2136510916" sldId="2134803580"/>
            <ac:spMk id="815" creationId="{0F1F048A-83D6-456E-9B4B-4CECC567CC4A}"/>
          </ac:spMkLst>
        </pc:spChg>
        <pc:spChg chg="mod">
          <ac:chgData name="Pierre Cavaroc" userId="150eff99-6aed-48f0-b13c-cabd0a4b3ac2" providerId="ADAL" clId="{E623609C-0EF4-4ECB-A655-127E285B354B}" dt="2021-03-21T23:02:53.691" v="6047" actId="27803"/>
          <ac:spMkLst>
            <pc:docMk/>
            <pc:sldMk cId="2136510916" sldId="2134803580"/>
            <ac:spMk id="816" creationId="{C63F2EDC-2614-4FA7-9BE6-22C2B7759345}"/>
          </ac:spMkLst>
        </pc:spChg>
        <pc:spChg chg="mod">
          <ac:chgData name="Pierre Cavaroc" userId="150eff99-6aed-48f0-b13c-cabd0a4b3ac2" providerId="ADAL" clId="{E623609C-0EF4-4ECB-A655-127E285B354B}" dt="2021-03-21T23:02:53.691" v="6047" actId="27803"/>
          <ac:spMkLst>
            <pc:docMk/>
            <pc:sldMk cId="2136510916" sldId="2134803580"/>
            <ac:spMk id="817" creationId="{38703E8D-34C2-4CAC-BCD1-B4EC4C447AB0}"/>
          </ac:spMkLst>
        </pc:spChg>
        <pc:spChg chg="mod">
          <ac:chgData name="Pierre Cavaroc" userId="150eff99-6aed-48f0-b13c-cabd0a4b3ac2" providerId="ADAL" clId="{E623609C-0EF4-4ECB-A655-127E285B354B}" dt="2021-03-21T23:02:53.691" v="6047" actId="27803"/>
          <ac:spMkLst>
            <pc:docMk/>
            <pc:sldMk cId="2136510916" sldId="2134803580"/>
            <ac:spMk id="818" creationId="{29DEAB3A-5505-4E79-AFCD-D827B0BD14D6}"/>
          </ac:spMkLst>
        </pc:spChg>
        <pc:spChg chg="mod">
          <ac:chgData name="Pierre Cavaroc" userId="150eff99-6aed-48f0-b13c-cabd0a4b3ac2" providerId="ADAL" clId="{E623609C-0EF4-4ECB-A655-127E285B354B}" dt="2021-03-21T23:02:53.691" v="6047" actId="27803"/>
          <ac:spMkLst>
            <pc:docMk/>
            <pc:sldMk cId="2136510916" sldId="2134803580"/>
            <ac:spMk id="819" creationId="{C4DB70FA-BAD8-4006-B1FD-E9B313B4E6F0}"/>
          </ac:spMkLst>
        </pc:spChg>
        <pc:spChg chg="mod">
          <ac:chgData name="Pierre Cavaroc" userId="150eff99-6aed-48f0-b13c-cabd0a4b3ac2" providerId="ADAL" clId="{E623609C-0EF4-4ECB-A655-127E285B354B}" dt="2021-03-21T23:02:53.691" v="6047" actId="27803"/>
          <ac:spMkLst>
            <pc:docMk/>
            <pc:sldMk cId="2136510916" sldId="2134803580"/>
            <ac:spMk id="820" creationId="{8807E7B0-30E6-41E6-86DF-170F5203D74E}"/>
          </ac:spMkLst>
        </pc:spChg>
        <pc:spChg chg="mod">
          <ac:chgData name="Pierre Cavaroc" userId="150eff99-6aed-48f0-b13c-cabd0a4b3ac2" providerId="ADAL" clId="{E623609C-0EF4-4ECB-A655-127E285B354B}" dt="2021-03-21T23:02:53.691" v="6047" actId="27803"/>
          <ac:spMkLst>
            <pc:docMk/>
            <pc:sldMk cId="2136510916" sldId="2134803580"/>
            <ac:spMk id="821" creationId="{6F507E3A-AF13-4176-9506-DF29C1DBA229}"/>
          </ac:spMkLst>
        </pc:spChg>
        <pc:spChg chg="mod">
          <ac:chgData name="Pierre Cavaroc" userId="150eff99-6aed-48f0-b13c-cabd0a4b3ac2" providerId="ADAL" clId="{E623609C-0EF4-4ECB-A655-127E285B354B}" dt="2021-03-21T23:02:53.691" v="6047" actId="27803"/>
          <ac:spMkLst>
            <pc:docMk/>
            <pc:sldMk cId="2136510916" sldId="2134803580"/>
            <ac:spMk id="822" creationId="{D86BC6AD-9CE4-4483-9FE7-1904E07A3DDC}"/>
          </ac:spMkLst>
        </pc:spChg>
        <pc:spChg chg="mod">
          <ac:chgData name="Pierre Cavaroc" userId="150eff99-6aed-48f0-b13c-cabd0a4b3ac2" providerId="ADAL" clId="{E623609C-0EF4-4ECB-A655-127E285B354B}" dt="2021-03-21T23:02:53.691" v="6047" actId="27803"/>
          <ac:spMkLst>
            <pc:docMk/>
            <pc:sldMk cId="2136510916" sldId="2134803580"/>
            <ac:spMk id="823" creationId="{187F8016-2ABB-40CB-A8A2-D6B62E774B7F}"/>
          </ac:spMkLst>
        </pc:spChg>
        <pc:spChg chg="mod">
          <ac:chgData name="Pierre Cavaroc" userId="150eff99-6aed-48f0-b13c-cabd0a4b3ac2" providerId="ADAL" clId="{E623609C-0EF4-4ECB-A655-127E285B354B}" dt="2021-03-21T23:02:53.691" v="6047" actId="27803"/>
          <ac:spMkLst>
            <pc:docMk/>
            <pc:sldMk cId="2136510916" sldId="2134803580"/>
            <ac:spMk id="824" creationId="{06B462DA-2287-4A24-977B-7C3D6CEEC2E4}"/>
          </ac:spMkLst>
        </pc:spChg>
        <pc:spChg chg="mod">
          <ac:chgData name="Pierre Cavaroc" userId="150eff99-6aed-48f0-b13c-cabd0a4b3ac2" providerId="ADAL" clId="{E623609C-0EF4-4ECB-A655-127E285B354B}" dt="2021-03-21T23:02:53.691" v="6047" actId="27803"/>
          <ac:spMkLst>
            <pc:docMk/>
            <pc:sldMk cId="2136510916" sldId="2134803580"/>
            <ac:spMk id="825" creationId="{C9F5E2C8-5D86-4313-8969-595A02090F4C}"/>
          </ac:spMkLst>
        </pc:spChg>
        <pc:spChg chg="mod">
          <ac:chgData name="Pierre Cavaroc" userId="150eff99-6aed-48f0-b13c-cabd0a4b3ac2" providerId="ADAL" clId="{E623609C-0EF4-4ECB-A655-127E285B354B}" dt="2021-03-21T23:02:53.691" v="6047" actId="27803"/>
          <ac:spMkLst>
            <pc:docMk/>
            <pc:sldMk cId="2136510916" sldId="2134803580"/>
            <ac:spMk id="826" creationId="{167A29D8-814C-4AD0-93A0-C77193B11C92}"/>
          </ac:spMkLst>
        </pc:spChg>
        <pc:spChg chg="mod">
          <ac:chgData name="Pierre Cavaroc" userId="150eff99-6aed-48f0-b13c-cabd0a4b3ac2" providerId="ADAL" clId="{E623609C-0EF4-4ECB-A655-127E285B354B}" dt="2021-03-21T23:02:53.691" v="6047" actId="27803"/>
          <ac:spMkLst>
            <pc:docMk/>
            <pc:sldMk cId="2136510916" sldId="2134803580"/>
            <ac:spMk id="827" creationId="{696BDC20-CFDF-436D-97C3-BE6193C118ED}"/>
          </ac:spMkLst>
        </pc:spChg>
        <pc:spChg chg="mod">
          <ac:chgData name="Pierre Cavaroc" userId="150eff99-6aed-48f0-b13c-cabd0a4b3ac2" providerId="ADAL" clId="{E623609C-0EF4-4ECB-A655-127E285B354B}" dt="2021-03-21T23:02:53.691" v="6047" actId="27803"/>
          <ac:spMkLst>
            <pc:docMk/>
            <pc:sldMk cId="2136510916" sldId="2134803580"/>
            <ac:spMk id="828" creationId="{2C986765-00D2-4E6D-8EC7-E94CC025EAD5}"/>
          </ac:spMkLst>
        </pc:spChg>
        <pc:spChg chg="mod">
          <ac:chgData name="Pierre Cavaroc" userId="150eff99-6aed-48f0-b13c-cabd0a4b3ac2" providerId="ADAL" clId="{E623609C-0EF4-4ECB-A655-127E285B354B}" dt="2021-03-21T23:02:53.691" v="6047" actId="27803"/>
          <ac:spMkLst>
            <pc:docMk/>
            <pc:sldMk cId="2136510916" sldId="2134803580"/>
            <ac:spMk id="829" creationId="{0775F8CF-9F6B-40C5-9F9F-2A043A239586}"/>
          </ac:spMkLst>
        </pc:spChg>
        <pc:spChg chg="mod">
          <ac:chgData name="Pierre Cavaroc" userId="150eff99-6aed-48f0-b13c-cabd0a4b3ac2" providerId="ADAL" clId="{E623609C-0EF4-4ECB-A655-127E285B354B}" dt="2021-03-21T23:02:53.691" v="6047" actId="27803"/>
          <ac:spMkLst>
            <pc:docMk/>
            <pc:sldMk cId="2136510916" sldId="2134803580"/>
            <ac:spMk id="830" creationId="{EB47B1F2-AA5C-4433-92BE-F864316BC0B0}"/>
          </ac:spMkLst>
        </pc:spChg>
        <pc:spChg chg="mod">
          <ac:chgData name="Pierre Cavaroc" userId="150eff99-6aed-48f0-b13c-cabd0a4b3ac2" providerId="ADAL" clId="{E623609C-0EF4-4ECB-A655-127E285B354B}" dt="2021-03-21T23:02:53.691" v="6047" actId="27803"/>
          <ac:spMkLst>
            <pc:docMk/>
            <pc:sldMk cId="2136510916" sldId="2134803580"/>
            <ac:spMk id="831" creationId="{92784C1E-9350-490C-BF61-562362177497}"/>
          </ac:spMkLst>
        </pc:spChg>
        <pc:spChg chg="mod">
          <ac:chgData name="Pierre Cavaroc" userId="150eff99-6aed-48f0-b13c-cabd0a4b3ac2" providerId="ADAL" clId="{E623609C-0EF4-4ECB-A655-127E285B354B}" dt="2021-03-21T23:02:53.691" v="6047" actId="27803"/>
          <ac:spMkLst>
            <pc:docMk/>
            <pc:sldMk cId="2136510916" sldId="2134803580"/>
            <ac:spMk id="832" creationId="{1263EC17-3AC5-42D3-9922-093F9DF10599}"/>
          </ac:spMkLst>
        </pc:spChg>
        <pc:spChg chg="mod">
          <ac:chgData name="Pierre Cavaroc" userId="150eff99-6aed-48f0-b13c-cabd0a4b3ac2" providerId="ADAL" clId="{E623609C-0EF4-4ECB-A655-127E285B354B}" dt="2021-03-21T23:02:53.691" v="6047" actId="27803"/>
          <ac:spMkLst>
            <pc:docMk/>
            <pc:sldMk cId="2136510916" sldId="2134803580"/>
            <ac:spMk id="833" creationId="{C13E2ABE-7E36-4E4C-ACA0-8F928CC0FBDC}"/>
          </ac:spMkLst>
        </pc:spChg>
        <pc:spChg chg="mod">
          <ac:chgData name="Pierre Cavaroc" userId="150eff99-6aed-48f0-b13c-cabd0a4b3ac2" providerId="ADAL" clId="{E623609C-0EF4-4ECB-A655-127E285B354B}" dt="2021-03-21T23:02:53.691" v="6047" actId="27803"/>
          <ac:spMkLst>
            <pc:docMk/>
            <pc:sldMk cId="2136510916" sldId="2134803580"/>
            <ac:spMk id="835" creationId="{F84C19B0-72BE-4096-AFC7-90B859C90443}"/>
          </ac:spMkLst>
        </pc:spChg>
        <pc:spChg chg="mod">
          <ac:chgData name="Pierre Cavaroc" userId="150eff99-6aed-48f0-b13c-cabd0a4b3ac2" providerId="ADAL" clId="{E623609C-0EF4-4ECB-A655-127E285B354B}" dt="2021-03-21T23:02:53.691" v="6047" actId="27803"/>
          <ac:spMkLst>
            <pc:docMk/>
            <pc:sldMk cId="2136510916" sldId="2134803580"/>
            <ac:spMk id="836" creationId="{5A75CC68-878A-4857-A2AC-435BA8424751}"/>
          </ac:spMkLst>
        </pc:spChg>
        <pc:spChg chg="mod">
          <ac:chgData name="Pierre Cavaroc" userId="150eff99-6aed-48f0-b13c-cabd0a4b3ac2" providerId="ADAL" clId="{E623609C-0EF4-4ECB-A655-127E285B354B}" dt="2021-03-21T23:02:53.691" v="6047" actId="27803"/>
          <ac:spMkLst>
            <pc:docMk/>
            <pc:sldMk cId="2136510916" sldId="2134803580"/>
            <ac:spMk id="838" creationId="{0A2F0F38-B143-4302-9336-F76A04ECBF0F}"/>
          </ac:spMkLst>
        </pc:spChg>
        <pc:spChg chg="mod">
          <ac:chgData name="Pierre Cavaroc" userId="150eff99-6aed-48f0-b13c-cabd0a4b3ac2" providerId="ADAL" clId="{E623609C-0EF4-4ECB-A655-127E285B354B}" dt="2021-03-21T23:02:53.691" v="6047" actId="27803"/>
          <ac:spMkLst>
            <pc:docMk/>
            <pc:sldMk cId="2136510916" sldId="2134803580"/>
            <ac:spMk id="839" creationId="{1B9A2027-FF60-4089-8A7B-AA39C7478B93}"/>
          </ac:spMkLst>
        </pc:spChg>
        <pc:spChg chg="mod">
          <ac:chgData name="Pierre Cavaroc" userId="150eff99-6aed-48f0-b13c-cabd0a4b3ac2" providerId="ADAL" clId="{E623609C-0EF4-4ECB-A655-127E285B354B}" dt="2021-03-21T23:02:53.691" v="6047" actId="27803"/>
          <ac:spMkLst>
            <pc:docMk/>
            <pc:sldMk cId="2136510916" sldId="2134803580"/>
            <ac:spMk id="841" creationId="{292ED7B0-18D0-495D-9212-E6590B1802E6}"/>
          </ac:spMkLst>
        </pc:spChg>
        <pc:spChg chg="mod">
          <ac:chgData name="Pierre Cavaroc" userId="150eff99-6aed-48f0-b13c-cabd0a4b3ac2" providerId="ADAL" clId="{E623609C-0EF4-4ECB-A655-127E285B354B}" dt="2021-03-21T23:02:53.691" v="6047" actId="27803"/>
          <ac:spMkLst>
            <pc:docMk/>
            <pc:sldMk cId="2136510916" sldId="2134803580"/>
            <ac:spMk id="842" creationId="{CE0B4A75-D7D0-4145-ABFD-E2098732AD0C}"/>
          </ac:spMkLst>
        </pc:spChg>
        <pc:spChg chg="mod">
          <ac:chgData name="Pierre Cavaroc" userId="150eff99-6aed-48f0-b13c-cabd0a4b3ac2" providerId="ADAL" clId="{E623609C-0EF4-4ECB-A655-127E285B354B}" dt="2021-03-21T23:02:53.691" v="6047" actId="27803"/>
          <ac:spMkLst>
            <pc:docMk/>
            <pc:sldMk cId="2136510916" sldId="2134803580"/>
            <ac:spMk id="843" creationId="{D6F86799-1A33-4988-AB72-8B1F66A909F8}"/>
          </ac:spMkLst>
        </pc:spChg>
        <pc:spChg chg="mod">
          <ac:chgData name="Pierre Cavaroc" userId="150eff99-6aed-48f0-b13c-cabd0a4b3ac2" providerId="ADAL" clId="{E623609C-0EF4-4ECB-A655-127E285B354B}" dt="2021-03-21T23:02:53.691" v="6047" actId="27803"/>
          <ac:spMkLst>
            <pc:docMk/>
            <pc:sldMk cId="2136510916" sldId="2134803580"/>
            <ac:spMk id="844" creationId="{68F7FE19-85AA-41D3-9D45-89E5CFA73318}"/>
          </ac:spMkLst>
        </pc:spChg>
        <pc:spChg chg="mod">
          <ac:chgData name="Pierre Cavaroc" userId="150eff99-6aed-48f0-b13c-cabd0a4b3ac2" providerId="ADAL" clId="{E623609C-0EF4-4ECB-A655-127E285B354B}" dt="2021-03-21T23:02:53.691" v="6047" actId="27803"/>
          <ac:spMkLst>
            <pc:docMk/>
            <pc:sldMk cId="2136510916" sldId="2134803580"/>
            <ac:spMk id="845" creationId="{D323876F-B651-4DFA-AE3E-15E09C339E89}"/>
          </ac:spMkLst>
        </pc:spChg>
        <pc:spChg chg="mod">
          <ac:chgData name="Pierre Cavaroc" userId="150eff99-6aed-48f0-b13c-cabd0a4b3ac2" providerId="ADAL" clId="{E623609C-0EF4-4ECB-A655-127E285B354B}" dt="2021-03-21T23:02:53.691" v="6047" actId="27803"/>
          <ac:spMkLst>
            <pc:docMk/>
            <pc:sldMk cId="2136510916" sldId="2134803580"/>
            <ac:spMk id="847" creationId="{5FE679F7-B88C-4F4A-A107-0479BC99AD3B}"/>
          </ac:spMkLst>
        </pc:spChg>
        <pc:spChg chg="mod">
          <ac:chgData name="Pierre Cavaroc" userId="150eff99-6aed-48f0-b13c-cabd0a4b3ac2" providerId="ADAL" clId="{E623609C-0EF4-4ECB-A655-127E285B354B}" dt="2021-03-21T23:02:53.691" v="6047" actId="27803"/>
          <ac:spMkLst>
            <pc:docMk/>
            <pc:sldMk cId="2136510916" sldId="2134803580"/>
            <ac:spMk id="848" creationId="{C6FB687A-97BF-40CD-869F-C90B4FA33EE4}"/>
          </ac:spMkLst>
        </pc:spChg>
        <pc:spChg chg="mod">
          <ac:chgData name="Pierre Cavaroc" userId="150eff99-6aed-48f0-b13c-cabd0a4b3ac2" providerId="ADAL" clId="{E623609C-0EF4-4ECB-A655-127E285B354B}" dt="2021-03-21T23:02:53.691" v="6047" actId="27803"/>
          <ac:spMkLst>
            <pc:docMk/>
            <pc:sldMk cId="2136510916" sldId="2134803580"/>
            <ac:spMk id="849" creationId="{6600354E-6419-4F0F-8E82-DEA4470945F6}"/>
          </ac:spMkLst>
        </pc:spChg>
        <pc:spChg chg="mod">
          <ac:chgData name="Pierre Cavaroc" userId="150eff99-6aed-48f0-b13c-cabd0a4b3ac2" providerId="ADAL" clId="{E623609C-0EF4-4ECB-A655-127E285B354B}" dt="2021-03-21T23:02:53.691" v="6047" actId="27803"/>
          <ac:spMkLst>
            <pc:docMk/>
            <pc:sldMk cId="2136510916" sldId="2134803580"/>
            <ac:spMk id="850" creationId="{61399BB1-B6F9-4719-B35F-32E9641E3FBE}"/>
          </ac:spMkLst>
        </pc:spChg>
        <pc:spChg chg="mod">
          <ac:chgData name="Pierre Cavaroc" userId="150eff99-6aed-48f0-b13c-cabd0a4b3ac2" providerId="ADAL" clId="{E623609C-0EF4-4ECB-A655-127E285B354B}" dt="2021-03-21T23:02:53.691" v="6047" actId="27803"/>
          <ac:spMkLst>
            <pc:docMk/>
            <pc:sldMk cId="2136510916" sldId="2134803580"/>
            <ac:spMk id="851" creationId="{BA6FEC10-B2DD-4D93-85FF-8719544CB085}"/>
          </ac:spMkLst>
        </pc:spChg>
        <pc:spChg chg="add del mod">
          <ac:chgData name="Pierre Cavaroc" userId="150eff99-6aed-48f0-b13c-cabd0a4b3ac2" providerId="ADAL" clId="{E623609C-0EF4-4ECB-A655-127E285B354B}" dt="2021-03-21T23:08:42.462" v="6054" actId="478"/>
          <ac:spMkLst>
            <pc:docMk/>
            <pc:sldMk cId="2136510916" sldId="2134803580"/>
            <ac:spMk id="853" creationId="{265D85C3-F2FC-43C4-B4D2-AFED261D9F20}"/>
          </ac:spMkLst>
        </pc:spChg>
        <pc:grpChg chg="mod">
          <ac:chgData name="Pierre Cavaroc" userId="150eff99-6aed-48f0-b13c-cabd0a4b3ac2" providerId="ADAL" clId="{E623609C-0EF4-4ECB-A655-127E285B354B}" dt="2021-03-21T23:02:37.896" v="6045" actId="27803"/>
          <ac:grpSpMkLst>
            <pc:docMk/>
            <pc:sldMk cId="2136510916" sldId="2134803580"/>
            <ac:grpSpMk id="16" creationId="{5BABDB06-F217-4703-8C23-CF6D38B95A93}"/>
          </ac:grpSpMkLst>
        </pc:grpChg>
        <pc:grpChg chg="mod">
          <ac:chgData name="Pierre Cavaroc" userId="150eff99-6aed-48f0-b13c-cabd0a4b3ac2" providerId="ADAL" clId="{E623609C-0EF4-4ECB-A655-127E285B354B}" dt="2021-03-21T23:02:37.896" v="6045" actId="27803"/>
          <ac:grpSpMkLst>
            <pc:docMk/>
            <pc:sldMk cId="2136510916" sldId="2134803580"/>
            <ac:grpSpMk id="18" creationId="{5BABDB06-F217-4703-8C23-CF6D38B95A93}"/>
          </ac:grpSpMkLst>
        </pc:grpChg>
        <pc:grpChg chg="mod">
          <ac:chgData name="Pierre Cavaroc" userId="150eff99-6aed-48f0-b13c-cabd0a4b3ac2" providerId="ADAL" clId="{E623609C-0EF4-4ECB-A655-127E285B354B}" dt="2021-03-21T23:02:37.896" v="6045" actId="27803"/>
          <ac:grpSpMkLst>
            <pc:docMk/>
            <pc:sldMk cId="2136510916" sldId="2134803580"/>
            <ac:grpSpMk id="416" creationId="{5BABDB06-F217-4703-8C23-CF6D38B95A93}"/>
          </ac:grpSpMkLst>
        </pc:grpChg>
        <pc:grpChg chg="mod">
          <ac:chgData name="Pierre Cavaroc" userId="150eff99-6aed-48f0-b13c-cabd0a4b3ac2" providerId="ADAL" clId="{E623609C-0EF4-4ECB-A655-127E285B354B}" dt="2021-03-21T23:02:37.896" v="6045" actId="27803"/>
          <ac:grpSpMkLst>
            <pc:docMk/>
            <pc:sldMk cId="2136510916" sldId="2134803580"/>
            <ac:grpSpMk id="419" creationId="{5BABDB06-F217-4703-8C23-CF6D38B95A93}"/>
          </ac:grpSpMkLst>
        </pc:grpChg>
        <pc:grpChg chg="mod">
          <ac:chgData name="Pierre Cavaroc" userId="150eff99-6aed-48f0-b13c-cabd0a4b3ac2" providerId="ADAL" clId="{E623609C-0EF4-4ECB-A655-127E285B354B}" dt="2021-03-21T23:02:37.896" v="6045" actId="27803"/>
          <ac:grpSpMkLst>
            <pc:docMk/>
            <pc:sldMk cId="2136510916" sldId="2134803580"/>
            <ac:grpSpMk id="422" creationId="{5BABDB06-F217-4703-8C23-CF6D38B95A93}"/>
          </ac:grpSpMkLst>
        </pc:grpChg>
        <pc:grpChg chg="mod">
          <ac:chgData name="Pierre Cavaroc" userId="150eff99-6aed-48f0-b13c-cabd0a4b3ac2" providerId="ADAL" clId="{E623609C-0EF4-4ECB-A655-127E285B354B}" dt="2021-03-21T23:02:37.896" v="6045" actId="27803"/>
          <ac:grpSpMkLst>
            <pc:docMk/>
            <pc:sldMk cId="2136510916" sldId="2134803580"/>
            <ac:grpSpMk id="428" creationId="{5BABDB06-F217-4703-8C23-CF6D38B95A93}"/>
          </ac:grpSpMkLst>
        </pc:grpChg>
        <pc:grpChg chg="mod">
          <ac:chgData name="Pierre Cavaroc" userId="150eff99-6aed-48f0-b13c-cabd0a4b3ac2" providerId="ADAL" clId="{E623609C-0EF4-4ECB-A655-127E285B354B}" dt="2021-03-21T23:02:53.691" v="6047" actId="27803"/>
          <ac:grpSpMkLst>
            <pc:docMk/>
            <pc:sldMk cId="2136510916" sldId="2134803580"/>
            <ac:grpSpMk id="434" creationId="{5BABDB06-F217-4703-8C23-CF6D38B95A93}"/>
          </ac:grpSpMkLst>
        </pc:grpChg>
        <pc:grpChg chg="mod">
          <ac:chgData name="Pierre Cavaroc" userId="150eff99-6aed-48f0-b13c-cabd0a4b3ac2" providerId="ADAL" clId="{E623609C-0EF4-4ECB-A655-127E285B354B}" dt="2021-03-21T23:02:53.691" v="6047" actId="27803"/>
          <ac:grpSpMkLst>
            <pc:docMk/>
            <pc:sldMk cId="2136510916" sldId="2134803580"/>
            <ac:grpSpMk id="436" creationId="{5BABDB06-F217-4703-8C23-CF6D38B95A93}"/>
          </ac:grpSpMkLst>
        </pc:grpChg>
        <pc:grpChg chg="mod">
          <ac:chgData name="Pierre Cavaroc" userId="150eff99-6aed-48f0-b13c-cabd0a4b3ac2" providerId="ADAL" clId="{E623609C-0EF4-4ECB-A655-127E285B354B}" dt="2021-03-21T23:02:53.691" v="6047" actId="27803"/>
          <ac:grpSpMkLst>
            <pc:docMk/>
            <pc:sldMk cId="2136510916" sldId="2134803580"/>
            <ac:grpSpMk id="834" creationId="{5BABDB06-F217-4703-8C23-CF6D38B95A93}"/>
          </ac:grpSpMkLst>
        </pc:grpChg>
        <pc:grpChg chg="mod">
          <ac:chgData name="Pierre Cavaroc" userId="150eff99-6aed-48f0-b13c-cabd0a4b3ac2" providerId="ADAL" clId="{E623609C-0EF4-4ECB-A655-127E285B354B}" dt="2021-03-21T23:02:53.691" v="6047" actId="27803"/>
          <ac:grpSpMkLst>
            <pc:docMk/>
            <pc:sldMk cId="2136510916" sldId="2134803580"/>
            <ac:grpSpMk id="837" creationId="{5BABDB06-F217-4703-8C23-CF6D38B95A93}"/>
          </ac:grpSpMkLst>
        </pc:grpChg>
        <pc:grpChg chg="mod">
          <ac:chgData name="Pierre Cavaroc" userId="150eff99-6aed-48f0-b13c-cabd0a4b3ac2" providerId="ADAL" clId="{E623609C-0EF4-4ECB-A655-127E285B354B}" dt="2021-03-21T23:02:53.691" v="6047" actId="27803"/>
          <ac:grpSpMkLst>
            <pc:docMk/>
            <pc:sldMk cId="2136510916" sldId="2134803580"/>
            <ac:grpSpMk id="840" creationId="{5BABDB06-F217-4703-8C23-CF6D38B95A93}"/>
          </ac:grpSpMkLst>
        </pc:grpChg>
        <pc:grpChg chg="mod">
          <ac:chgData name="Pierre Cavaroc" userId="150eff99-6aed-48f0-b13c-cabd0a4b3ac2" providerId="ADAL" clId="{E623609C-0EF4-4ECB-A655-127E285B354B}" dt="2021-03-21T23:02:53.691" v="6047" actId="27803"/>
          <ac:grpSpMkLst>
            <pc:docMk/>
            <pc:sldMk cId="2136510916" sldId="2134803580"/>
            <ac:grpSpMk id="846" creationId="{5BABDB06-F217-4703-8C23-CF6D38B95A93}"/>
          </ac:grpSpMkLst>
        </pc:grpChg>
        <pc:grpChg chg="add mod">
          <ac:chgData name="Pierre Cavaroc" userId="150eff99-6aed-48f0-b13c-cabd0a4b3ac2" providerId="ADAL" clId="{E623609C-0EF4-4ECB-A655-127E285B354B}" dt="2021-03-21T23:15:21.961" v="6086" actId="12789"/>
          <ac:grpSpMkLst>
            <pc:docMk/>
            <pc:sldMk cId="2136510916" sldId="2134803580"/>
            <ac:grpSpMk id="856" creationId="{18FA5256-0019-490F-BFB3-26ECAECD6819}"/>
          </ac:grpSpMkLst>
        </pc:grpChg>
        <pc:picChg chg="add del mod modCrop">
          <ac:chgData name="Pierre Cavaroc" userId="150eff99-6aed-48f0-b13c-cabd0a4b3ac2" providerId="ADAL" clId="{E623609C-0EF4-4ECB-A655-127E285B354B}" dt="2021-03-21T23:00:12.417" v="6001" actId="478"/>
          <ac:picMkLst>
            <pc:docMk/>
            <pc:sldMk cId="2136510916" sldId="2134803580"/>
            <ac:picMk id="6" creationId="{E6234B85-24CF-4CB5-8E52-A94BA457BF1F}"/>
          </ac:picMkLst>
        </pc:picChg>
        <pc:picChg chg="add del mod">
          <ac:chgData name="Pierre Cavaroc" userId="150eff99-6aed-48f0-b13c-cabd0a4b3ac2" providerId="ADAL" clId="{E623609C-0EF4-4ECB-A655-127E285B354B}" dt="2021-03-21T23:02:09.307" v="6039" actId="478"/>
          <ac:picMkLst>
            <pc:docMk/>
            <pc:sldMk cId="2136510916" sldId="2134803580"/>
            <ac:picMk id="10" creationId="{4DB8FF24-7DB7-49A2-AE9C-5C76516209FB}"/>
          </ac:picMkLst>
        </pc:picChg>
        <pc:picChg chg="add del mod">
          <ac:chgData name="Pierre Cavaroc" userId="150eff99-6aed-48f0-b13c-cabd0a4b3ac2" providerId="ADAL" clId="{E623609C-0EF4-4ECB-A655-127E285B354B}" dt="2021-03-21T23:08:38.026" v="6053" actId="478"/>
          <ac:picMkLst>
            <pc:docMk/>
            <pc:sldMk cId="2136510916" sldId="2134803580"/>
            <ac:picMk id="15" creationId="{5BABDB06-F217-4703-8C23-CF6D38B95A93}"/>
          </ac:picMkLst>
        </pc:picChg>
        <pc:picChg chg="add mod">
          <ac:chgData name="Pierre Cavaroc" userId="150eff99-6aed-48f0-b13c-cabd0a4b3ac2" providerId="ADAL" clId="{E623609C-0EF4-4ECB-A655-127E285B354B}" dt="2021-03-21T23:09:24.702" v="6073" actId="164"/>
          <ac:picMkLst>
            <pc:docMk/>
            <pc:sldMk cId="2136510916" sldId="2134803580"/>
            <ac:picMk id="855" creationId="{B1F76C37-295B-4DD8-8E3D-9A38EF17B35D}"/>
          </ac:picMkLst>
        </pc:picChg>
        <pc:picChg chg="add mod">
          <ac:chgData name="Pierre Cavaroc" userId="150eff99-6aed-48f0-b13c-cabd0a4b3ac2" providerId="ADAL" clId="{E623609C-0EF4-4ECB-A655-127E285B354B}" dt="2021-03-21T23:15:21.961" v="6086" actId="12789"/>
          <ac:picMkLst>
            <pc:docMk/>
            <pc:sldMk cId="2136510916" sldId="2134803580"/>
            <ac:picMk id="858" creationId="{80E8D9DB-9821-4E11-8063-D0A0B990C299}"/>
          </ac:picMkLst>
        </pc:picChg>
      </pc:sldChg>
      <pc:sldChg chg="modSp add mod ord modTransition">
        <pc:chgData name="Pierre Cavaroc" userId="150eff99-6aed-48f0-b13c-cabd0a4b3ac2" providerId="ADAL" clId="{E623609C-0EF4-4ECB-A655-127E285B354B}" dt="2021-03-21T23:33:11.118" v="6216"/>
        <pc:sldMkLst>
          <pc:docMk/>
          <pc:sldMk cId="1102215076" sldId="2134803581"/>
        </pc:sldMkLst>
        <pc:spChg chg="mod">
          <ac:chgData name="Pierre Cavaroc" userId="150eff99-6aed-48f0-b13c-cabd0a4b3ac2" providerId="ADAL" clId="{E623609C-0EF4-4ECB-A655-127E285B354B}" dt="2021-03-21T23:15:55.593" v="6100" actId="12788"/>
          <ac:spMkLst>
            <pc:docMk/>
            <pc:sldMk cId="1102215076" sldId="2134803581"/>
            <ac:spMk id="6" creationId="{D037EEB5-6036-41AA-855E-326A8E292CAE}"/>
          </ac:spMkLst>
        </pc:spChg>
      </pc:sldChg>
      <pc:sldChg chg="add del">
        <pc:chgData name="Pierre Cavaroc" userId="150eff99-6aed-48f0-b13c-cabd0a4b3ac2" providerId="ADAL" clId="{E623609C-0EF4-4ECB-A655-127E285B354B}" dt="2021-03-21T23:34:12.211" v="6226"/>
        <pc:sldMkLst>
          <pc:docMk/>
          <pc:sldMk cId="3352876060" sldId="2134803582"/>
        </pc:sldMkLst>
      </pc:sldChg>
      <pc:sldMasterChg chg="addSldLayout delSldLayout modSldLayout">
        <pc:chgData name="Pierre Cavaroc" userId="150eff99-6aed-48f0-b13c-cabd0a4b3ac2" providerId="ADAL" clId="{E623609C-0EF4-4ECB-A655-127E285B354B}" dt="2021-03-21T02:02:46.383" v="1503" actId="1035"/>
        <pc:sldMasterMkLst>
          <pc:docMk/>
          <pc:sldMasterMk cId="0" sldId="2147483660"/>
        </pc:sldMasterMkLst>
        <pc:sldLayoutChg chg="addSp delSp modSp mod setBg">
          <pc:chgData name="Pierre Cavaroc" userId="150eff99-6aed-48f0-b13c-cabd0a4b3ac2" providerId="ADAL" clId="{E623609C-0EF4-4ECB-A655-127E285B354B}" dt="2021-03-21T02:02:06.127" v="1496" actId="1076"/>
          <pc:sldLayoutMkLst>
            <pc:docMk/>
            <pc:sldMasterMk cId="0" sldId="2147483660"/>
            <pc:sldLayoutMk cId="0" sldId="2147483940"/>
          </pc:sldLayoutMkLst>
          <pc:spChg chg="add del mod">
            <ac:chgData name="Pierre Cavaroc" userId="150eff99-6aed-48f0-b13c-cabd0a4b3ac2" providerId="ADAL" clId="{E623609C-0EF4-4ECB-A655-127E285B354B}" dt="2021-03-20T21:50:05.536" v="1338" actId="478"/>
            <ac:spMkLst>
              <pc:docMk/>
              <pc:sldMasterMk cId="0" sldId="2147483660"/>
              <pc:sldLayoutMk cId="0" sldId="2147483940"/>
              <ac:spMk id="9" creationId="{611DE428-05D4-42FE-B9C2-02D4220CDC45}"/>
            </ac:spMkLst>
          </pc:spChg>
          <pc:spChg chg="add del mod">
            <ac:chgData name="Pierre Cavaroc" userId="150eff99-6aed-48f0-b13c-cabd0a4b3ac2" providerId="ADAL" clId="{E623609C-0EF4-4ECB-A655-127E285B354B}" dt="2021-03-20T21:40:24.354" v="1199"/>
            <ac:spMkLst>
              <pc:docMk/>
              <pc:sldMasterMk cId="0" sldId="2147483660"/>
              <pc:sldLayoutMk cId="0" sldId="2147483940"/>
              <ac:spMk id="12" creationId="{7C006084-7005-44FD-96CD-2EDC9083FEF2}"/>
            </ac:spMkLst>
          </pc:spChg>
          <pc:spChg chg="add del mod">
            <ac:chgData name="Pierre Cavaroc" userId="150eff99-6aed-48f0-b13c-cabd0a4b3ac2" providerId="ADAL" clId="{E623609C-0EF4-4ECB-A655-127E285B354B}" dt="2021-03-20T21:50:05.753" v="1339"/>
            <ac:spMkLst>
              <pc:docMk/>
              <pc:sldMasterMk cId="0" sldId="2147483660"/>
              <pc:sldLayoutMk cId="0" sldId="2147483940"/>
              <ac:spMk id="13" creationId="{5E1C2E23-A3BC-4E3D-8A35-F851AD8E6439}"/>
            </ac:spMkLst>
          </pc:spChg>
          <pc:spChg chg="mod">
            <ac:chgData name="Pierre Cavaroc" userId="150eff99-6aed-48f0-b13c-cabd0a4b3ac2" providerId="ADAL" clId="{E623609C-0EF4-4ECB-A655-127E285B354B}" dt="2021-03-21T02:02:06.127" v="1496" actId="1076"/>
            <ac:spMkLst>
              <pc:docMk/>
              <pc:sldMasterMk cId="0" sldId="2147483660"/>
              <pc:sldLayoutMk cId="0" sldId="2147483940"/>
              <ac:spMk id="27" creationId="{2DEBE434-B189-41F7-9989-933C96012489}"/>
            </ac:spMkLst>
          </pc:spChg>
          <pc:picChg chg="del">
            <ac:chgData name="Pierre Cavaroc" userId="150eff99-6aed-48f0-b13c-cabd0a4b3ac2" providerId="ADAL" clId="{E623609C-0EF4-4ECB-A655-127E285B354B}" dt="2021-03-20T21:39:39.526" v="1190" actId="478"/>
            <ac:picMkLst>
              <pc:docMk/>
              <pc:sldMasterMk cId="0" sldId="2147483660"/>
              <pc:sldLayoutMk cId="0" sldId="2147483940"/>
              <ac:picMk id="23" creationId="{44FE5A5D-E8E1-4A2B-9DA5-F0BF2EF21F89}"/>
            </ac:picMkLst>
          </pc:picChg>
        </pc:sldLayoutChg>
        <pc:sldLayoutChg chg="addSp delSp modSp mod setBg">
          <pc:chgData name="Pierre Cavaroc" userId="150eff99-6aed-48f0-b13c-cabd0a4b3ac2" providerId="ADAL" clId="{E623609C-0EF4-4ECB-A655-127E285B354B}" dt="2021-03-21T02:01:30.910" v="1490" actId="1076"/>
          <pc:sldLayoutMkLst>
            <pc:docMk/>
            <pc:sldMasterMk cId="0" sldId="2147483660"/>
            <pc:sldLayoutMk cId="0" sldId="2147483942"/>
          </pc:sldLayoutMkLst>
          <pc:spChg chg="del">
            <ac:chgData name="Pierre Cavaroc" userId="150eff99-6aed-48f0-b13c-cabd0a4b3ac2" providerId="ADAL" clId="{E623609C-0EF4-4ECB-A655-127E285B354B}" dt="2021-03-20T21:44:02.997" v="1240" actId="478"/>
            <ac:spMkLst>
              <pc:docMk/>
              <pc:sldMasterMk cId="0" sldId="2147483660"/>
              <pc:sldLayoutMk cId="0" sldId="2147483942"/>
              <ac:spMk id="11" creationId="{211760C4-406F-4A8F-95D2-27701FCFF472}"/>
            </ac:spMkLst>
          </pc:spChg>
          <pc:spChg chg="add del mod">
            <ac:chgData name="Pierre Cavaroc" userId="150eff99-6aed-48f0-b13c-cabd0a4b3ac2" providerId="ADAL" clId="{E623609C-0EF4-4ECB-A655-127E285B354B}" dt="2021-03-20T21:49:16.030" v="1317" actId="478"/>
            <ac:spMkLst>
              <pc:docMk/>
              <pc:sldMasterMk cId="0" sldId="2147483660"/>
              <pc:sldLayoutMk cId="0" sldId="2147483942"/>
              <ac:spMk id="12" creationId="{A7F580C4-7A15-41B6-9564-20F4B9E276F4}"/>
            </ac:spMkLst>
          </pc:spChg>
          <pc:spChg chg="add mod">
            <ac:chgData name="Pierre Cavaroc" userId="150eff99-6aed-48f0-b13c-cabd0a4b3ac2" providerId="ADAL" clId="{E623609C-0EF4-4ECB-A655-127E285B354B}" dt="2021-03-20T21:49:17.090" v="1318"/>
            <ac:spMkLst>
              <pc:docMk/>
              <pc:sldMasterMk cId="0" sldId="2147483660"/>
              <pc:sldLayoutMk cId="0" sldId="2147483942"/>
              <ac:spMk id="13" creationId="{BBBEBDBF-BDE4-4F1A-A664-545667965C59}"/>
            </ac:spMkLst>
          </pc:spChg>
          <pc:spChg chg="mod">
            <ac:chgData name="Pierre Cavaroc" userId="150eff99-6aed-48f0-b13c-cabd0a4b3ac2" providerId="ADAL" clId="{E623609C-0EF4-4ECB-A655-127E285B354B}" dt="2021-03-21T02:01:30.910" v="1490" actId="1076"/>
            <ac:spMkLst>
              <pc:docMk/>
              <pc:sldMasterMk cId="0" sldId="2147483660"/>
              <pc:sldLayoutMk cId="0" sldId="2147483942"/>
              <ac:spMk id="17" creationId="{23BC13EC-0FA4-4E05-B653-5BA418936C8D}"/>
            </ac:spMkLst>
          </pc:spChg>
          <pc:picChg chg="del mod">
            <ac:chgData name="Pierre Cavaroc" userId="150eff99-6aed-48f0-b13c-cabd0a4b3ac2" providerId="ADAL" clId="{E623609C-0EF4-4ECB-A655-127E285B354B}" dt="2021-03-20T21:44:01.088" v="1239" actId="478"/>
            <ac:picMkLst>
              <pc:docMk/>
              <pc:sldMasterMk cId="0" sldId="2147483660"/>
              <pc:sldLayoutMk cId="0" sldId="2147483942"/>
              <ac:picMk id="20" creationId="{9BF18EF6-CCF8-4D37-93CD-C4A7E0F59D18}"/>
            </ac:picMkLst>
          </pc:picChg>
        </pc:sldLayoutChg>
        <pc:sldLayoutChg chg="setBg">
          <pc:chgData name="Pierre Cavaroc" userId="150eff99-6aed-48f0-b13c-cabd0a4b3ac2" providerId="ADAL" clId="{E623609C-0EF4-4ECB-A655-127E285B354B}" dt="2021-03-20T20:46:26.782" v="802"/>
          <pc:sldLayoutMkLst>
            <pc:docMk/>
            <pc:sldMasterMk cId="0" sldId="2147483660"/>
            <pc:sldLayoutMk cId="0" sldId="2147483944"/>
          </pc:sldLayoutMkLst>
        </pc:sldLayoutChg>
        <pc:sldLayoutChg chg="setBg">
          <pc:chgData name="Pierre Cavaroc" userId="150eff99-6aed-48f0-b13c-cabd0a4b3ac2" providerId="ADAL" clId="{E623609C-0EF4-4ECB-A655-127E285B354B}" dt="2021-03-20T20:46:26.782" v="802"/>
          <pc:sldLayoutMkLst>
            <pc:docMk/>
            <pc:sldMasterMk cId="0" sldId="2147483660"/>
            <pc:sldLayoutMk cId="0" sldId="2147483946"/>
          </pc:sldLayoutMkLst>
        </pc:sldLayoutChg>
        <pc:sldLayoutChg chg="addSp delSp modSp mod setBg">
          <pc:chgData name="Pierre Cavaroc" userId="150eff99-6aed-48f0-b13c-cabd0a4b3ac2" providerId="ADAL" clId="{E623609C-0EF4-4ECB-A655-127E285B354B}" dt="2021-03-21T02:01:59.778" v="1495" actId="1076"/>
          <pc:sldLayoutMkLst>
            <pc:docMk/>
            <pc:sldMasterMk cId="0" sldId="2147483660"/>
            <pc:sldLayoutMk cId="2065903013" sldId="2147484011"/>
          </pc:sldLayoutMkLst>
          <pc:spChg chg="del mod">
            <ac:chgData name="Pierre Cavaroc" userId="150eff99-6aed-48f0-b13c-cabd0a4b3ac2" providerId="ADAL" clId="{E623609C-0EF4-4ECB-A655-127E285B354B}" dt="2021-03-20T21:42:53.238" v="1220" actId="478"/>
            <ac:spMkLst>
              <pc:docMk/>
              <pc:sldMasterMk cId="0" sldId="2147483660"/>
              <pc:sldLayoutMk cId="2065903013" sldId="2147484011"/>
              <ac:spMk id="9" creationId="{611DE428-05D4-42FE-B9C2-02D4220CDC45}"/>
            </ac:spMkLst>
          </pc:spChg>
          <pc:spChg chg="add del mod">
            <ac:chgData name="Pierre Cavaroc" userId="150eff99-6aed-48f0-b13c-cabd0a4b3ac2" providerId="ADAL" clId="{E623609C-0EF4-4ECB-A655-127E285B354B}" dt="2021-03-20T21:49:47.973" v="1330" actId="478"/>
            <ac:spMkLst>
              <pc:docMk/>
              <pc:sldMasterMk cId="0" sldId="2147483660"/>
              <pc:sldLayoutMk cId="2065903013" sldId="2147484011"/>
              <ac:spMk id="13" creationId="{3D3D4552-FFF3-42E6-BA25-31965771B87A}"/>
            </ac:spMkLst>
          </pc:spChg>
          <pc:spChg chg="add mod">
            <ac:chgData name="Pierre Cavaroc" userId="150eff99-6aed-48f0-b13c-cabd0a4b3ac2" providerId="ADAL" clId="{E623609C-0EF4-4ECB-A655-127E285B354B}" dt="2021-03-20T21:49:51.220" v="1332" actId="207"/>
            <ac:spMkLst>
              <pc:docMk/>
              <pc:sldMasterMk cId="0" sldId="2147483660"/>
              <pc:sldLayoutMk cId="2065903013" sldId="2147484011"/>
              <ac:spMk id="14" creationId="{B04FAD41-B16C-49BC-826A-19256D5AA831}"/>
            </ac:spMkLst>
          </pc:spChg>
          <pc:spChg chg="mod">
            <ac:chgData name="Pierre Cavaroc" userId="150eff99-6aed-48f0-b13c-cabd0a4b3ac2" providerId="ADAL" clId="{E623609C-0EF4-4ECB-A655-127E285B354B}" dt="2021-03-21T02:01:59.778" v="1495" actId="1076"/>
            <ac:spMkLst>
              <pc:docMk/>
              <pc:sldMasterMk cId="0" sldId="2147483660"/>
              <pc:sldLayoutMk cId="2065903013" sldId="2147484011"/>
              <ac:spMk id="27" creationId="{2DEBE434-B189-41F7-9989-933C96012489}"/>
            </ac:spMkLst>
          </pc:spChg>
          <pc:picChg chg="del">
            <ac:chgData name="Pierre Cavaroc" userId="150eff99-6aed-48f0-b13c-cabd0a4b3ac2" providerId="ADAL" clId="{E623609C-0EF4-4ECB-A655-127E285B354B}" dt="2021-03-20T21:41:58.118" v="1209" actId="478"/>
            <ac:picMkLst>
              <pc:docMk/>
              <pc:sldMasterMk cId="0" sldId="2147483660"/>
              <pc:sldLayoutMk cId="2065903013" sldId="2147484011"/>
              <ac:picMk id="12" creationId="{862E1030-39CA-4100-97B0-8BC59F2B7E6B}"/>
            </ac:picMkLst>
          </pc:picChg>
        </pc:sldLayoutChg>
        <pc:sldLayoutChg chg="addSp delSp modSp mod setBg">
          <pc:chgData name="Pierre Cavaroc" userId="150eff99-6aed-48f0-b13c-cabd0a4b3ac2" providerId="ADAL" clId="{E623609C-0EF4-4ECB-A655-127E285B354B}" dt="2021-03-21T02:02:13.271" v="1497" actId="1076"/>
          <pc:sldLayoutMkLst>
            <pc:docMk/>
            <pc:sldMasterMk cId="0" sldId="2147483660"/>
            <pc:sldLayoutMk cId="807523137" sldId="2147484012"/>
          </pc:sldLayoutMkLst>
          <pc:spChg chg="add mod">
            <ac:chgData name="Pierre Cavaroc" userId="150eff99-6aed-48f0-b13c-cabd0a4b3ac2" providerId="ADAL" clId="{E623609C-0EF4-4ECB-A655-127E285B354B}" dt="2021-03-20T21:50:33.250" v="1348"/>
            <ac:spMkLst>
              <pc:docMk/>
              <pc:sldMasterMk cId="0" sldId="2147483660"/>
              <pc:sldLayoutMk cId="807523137" sldId="2147484012"/>
              <ac:spMk id="8" creationId="{AE751009-5414-4877-A666-449EB465F0AE}"/>
            </ac:spMkLst>
          </pc:spChg>
          <pc:spChg chg="del mod">
            <ac:chgData name="Pierre Cavaroc" userId="150eff99-6aed-48f0-b13c-cabd0a4b3ac2" providerId="ADAL" clId="{E623609C-0EF4-4ECB-A655-127E285B354B}" dt="2021-03-20T21:50:32.103" v="1347" actId="478"/>
            <ac:spMkLst>
              <pc:docMk/>
              <pc:sldMasterMk cId="0" sldId="2147483660"/>
              <pc:sldLayoutMk cId="807523137" sldId="2147484012"/>
              <ac:spMk id="9" creationId="{611DE428-05D4-42FE-B9C2-02D4220CDC45}"/>
            </ac:spMkLst>
          </pc:spChg>
          <pc:spChg chg="mod">
            <ac:chgData name="Pierre Cavaroc" userId="150eff99-6aed-48f0-b13c-cabd0a4b3ac2" providerId="ADAL" clId="{E623609C-0EF4-4ECB-A655-127E285B354B}" dt="2021-03-21T02:02:13.271" v="1497" actId="1076"/>
            <ac:spMkLst>
              <pc:docMk/>
              <pc:sldMasterMk cId="0" sldId="2147483660"/>
              <pc:sldLayoutMk cId="807523137" sldId="2147484012"/>
              <ac:spMk id="27" creationId="{2DEBE434-B189-41F7-9989-933C96012489}"/>
            </ac:spMkLst>
          </pc:spChg>
          <pc:picChg chg="del">
            <ac:chgData name="Pierre Cavaroc" userId="150eff99-6aed-48f0-b13c-cabd0a4b3ac2" providerId="ADAL" clId="{E623609C-0EF4-4ECB-A655-127E285B354B}" dt="2021-03-20T21:32:20.983" v="1166" actId="478"/>
            <ac:picMkLst>
              <pc:docMk/>
              <pc:sldMasterMk cId="0" sldId="2147483660"/>
              <pc:sldLayoutMk cId="807523137" sldId="2147484012"/>
              <ac:picMk id="3" creationId="{43A1C648-BE9E-4056-A46A-82E385420374}"/>
            </ac:picMkLst>
          </pc:picChg>
        </pc:sldLayoutChg>
        <pc:sldLayoutChg chg="addSp delSp modSp mod setBg">
          <pc:chgData name="Pierre Cavaroc" userId="150eff99-6aed-48f0-b13c-cabd0a4b3ac2" providerId="ADAL" clId="{E623609C-0EF4-4ECB-A655-127E285B354B}" dt="2021-03-21T02:01:48.388" v="1493" actId="1076"/>
          <pc:sldLayoutMkLst>
            <pc:docMk/>
            <pc:sldMasterMk cId="0" sldId="2147483660"/>
            <pc:sldLayoutMk cId="4115028914" sldId="2147484013"/>
          </pc:sldLayoutMkLst>
          <pc:spChg chg="del">
            <ac:chgData name="Pierre Cavaroc" userId="150eff99-6aed-48f0-b13c-cabd0a4b3ac2" providerId="ADAL" clId="{E623609C-0EF4-4ECB-A655-127E285B354B}" dt="2021-03-20T21:43:40.213" v="1230" actId="478"/>
            <ac:spMkLst>
              <pc:docMk/>
              <pc:sldMasterMk cId="0" sldId="2147483660"/>
              <pc:sldLayoutMk cId="4115028914" sldId="2147484013"/>
              <ac:spMk id="9" creationId="{611DE428-05D4-42FE-B9C2-02D4220CDC45}"/>
            </ac:spMkLst>
          </pc:spChg>
          <pc:spChg chg="add del mod">
            <ac:chgData name="Pierre Cavaroc" userId="150eff99-6aed-48f0-b13c-cabd0a4b3ac2" providerId="ADAL" clId="{E623609C-0EF4-4ECB-A655-127E285B354B}" dt="2021-03-20T21:49:36.022" v="1325" actId="478"/>
            <ac:spMkLst>
              <pc:docMk/>
              <pc:sldMasterMk cId="0" sldId="2147483660"/>
              <pc:sldLayoutMk cId="4115028914" sldId="2147484013"/>
              <ac:spMk id="13" creationId="{BA629AFE-5CD6-4F4D-817D-70F22C949A0B}"/>
            </ac:spMkLst>
          </pc:spChg>
          <pc:spChg chg="add mod">
            <ac:chgData name="Pierre Cavaroc" userId="150eff99-6aed-48f0-b13c-cabd0a4b3ac2" providerId="ADAL" clId="{E623609C-0EF4-4ECB-A655-127E285B354B}" dt="2021-03-20T21:49:39.037" v="1327" actId="207"/>
            <ac:spMkLst>
              <pc:docMk/>
              <pc:sldMasterMk cId="0" sldId="2147483660"/>
              <pc:sldLayoutMk cId="4115028914" sldId="2147484013"/>
              <ac:spMk id="14" creationId="{A2E1DE36-075C-4567-A045-CD79886546B4}"/>
            </ac:spMkLst>
          </pc:spChg>
          <pc:spChg chg="mod">
            <ac:chgData name="Pierre Cavaroc" userId="150eff99-6aed-48f0-b13c-cabd0a4b3ac2" providerId="ADAL" clId="{E623609C-0EF4-4ECB-A655-127E285B354B}" dt="2021-03-21T02:01:48.388" v="1493" actId="1076"/>
            <ac:spMkLst>
              <pc:docMk/>
              <pc:sldMasterMk cId="0" sldId="2147483660"/>
              <pc:sldLayoutMk cId="4115028914" sldId="2147484013"/>
              <ac:spMk id="27" creationId="{2DEBE434-B189-41F7-9989-933C96012489}"/>
            </ac:spMkLst>
          </pc:spChg>
          <pc:picChg chg="del">
            <ac:chgData name="Pierre Cavaroc" userId="150eff99-6aed-48f0-b13c-cabd0a4b3ac2" providerId="ADAL" clId="{E623609C-0EF4-4ECB-A655-127E285B354B}" dt="2021-03-20T21:43:33.429" v="1229" actId="478"/>
            <ac:picMkLst>
              <pc:docMk/>
              <pc:sldMasterMk cId="0" sldId="2147483660"/>
              <pc:sldLayoutMk cId="4115028914" sldId="2147484013"/>
              <ac:picMk id="12" creationId="{01B78555-35FC-4628-9CCE-528BCD810BA5}"/>
            </ac:picMkLst>
          </pc:picChg>
        </pc:sldLayoutChg>
        <pc:sldLayoutChg chg="addSp delSp modSp mod setBg">
          <pc:chgData name="Pierre Cavaroc" userId="150eff99-6aed-48f0-b13c-cabd0a4b3ac2" providerId="ADAL" clId="{E623609C-0EF4-4ECB-A655-127E285B354B}" dt="2021-03-21T02:02:46.383" v="1503" actId="1035"/>
          <pc:sldLayoutMkLst>
            <pc:docMk/>
            <pc:sldMasterMk cId="0" sldId="2147483660"/>
            <pc:sldLayoutMk cId="32214542" sldId="2147484014"/>
          </pc:sldLayoutMkLst>
          <pc:spChg chg="del">
            <ac:chgData name="Pierre Cavaroc" userId="150eff99-6aed-48f0-b13c-cabd0a4b3ac2" providerId="ADAL" clId="{E623609C-0EF4-4ECB-A655-127E285B354B}" dt="2021-03-20T21:43:48.318" v="1233" actId="478"/>
            <ac:spMkLst>
              <pc:docMk/>
              <pc:sldMasterMk cId="0" sldId="2147483660"/>
              <pc:sldLayoutMk cId="32214542" sldId="2147484014"/>
              <ac:spMk id="9" creationId="{611DE428-05D4-42FE-B9C2-02D4220CDC45}"/>
            </ac:spMkLst>
          </pc:spChg>
          <pc:spChg chg="add del mod">
            <ac:chgData name="Pierre Cavaroc" userId="150eff99-6aed-48f0-b13c-cabd0a4b3ac2" providerId="ADAL" clId="{E623609C-0EF4-4ECB-A655-127E285B354B}" dt="2021-03-20T21:49:30.174" v="1322" actId="478"/>
            <ac:spMkLst>
              <pc:docMk/>
              <pc:sldMasterMk cId="0" sldId="2147483660"/>
              <pc:sldLayoutMk cId="32214542" sldId="2147484014"/>
              <ac:spMk id="13" creationId="{235C7FF1-973D-4435-B4FC-DA78E4742D41}"/>
            </ac:spMkLst>
          </pc:spChg>
          <pc:spChg chg="add mod">
            <ac:chgData name="Pierre Cavaroc" userId="150eff99-6aed-48f0-b13c-cabd0a4b3ac2" providerId="ADAL" clId="{E623609C-0EF4-4ECB-A655-127E285B354B}" dt="2021-03-20T21:49:33.511" v="1324" actId="207"/>
            <ac:spMkLst>
              <pc:docMk/>
              <pc:sldMasterMk cId="0" sldId="2147483660"/>
              <pc:sldLayoutMk cId="32214542" sldId="2147484014"/>
              <ac:spMk id="16" creationId="{C5A22A80-1FB0-4DE9-A5FA-C9389FB2D304}"/>
            </ac:spMkLst>
          </pc:spChg>
          <pc:spChg chg="mod">
            <ac:chgData name="Pierre Cavaroc" userId="150eff99-6aed-48f0-b13c-cabd0a4b3ac2" providerId="ADAL" clId="{E623609C-0EF4-4ECB-A655-127E285B354B}" dt="2021-03-21T02:02:46.383" v="1503" actId="1035"/>
            <ac:spMkLst>
              <pc:docMk/>
              <pc:sldMasterMk cId="0" sldId="2147483660"/>
              <pc:sldLayoutMk cId="32214542" sldId="2147484014"/>
              <ac:spMk id="27" creationId="{2DEBE434-B189-41F7-9989-933C96012489}"/>
            </ac:spMkLst>
          </pc:spChg>
          <pc:picChg chg="del">
            <ac:chgData name="Pierre Cavaroc" userId="150eff99-6aed-48f0-b13c-cabd0a4b3ac2" providerId="ADAL" clId="{E623609C-0EF4-4ECB-A655-127E285B354B}" dt="2021-03-20T21:43:43.637" v="1232" actId="478"/>
            <ac:picMkLst>
              <pc:docMk/>
              <pc:sldMasterMk cId="0" sldId="2147483660"/>
              <pc:sldLayoutMk cId="32214542" sldId="2147484014"/>
              <ac:picMk id="14" creationId="{25FF03AD-754B-46EA-9AF3-B3C6FF7CC176}"/>
            </ac:picMkLst>
          </pc:picChg>
        </pc:sldLayoutChg>
        <pc:sldLayoutChg chg="addSp delSp modSp mod setBg">
          <pc:chgData name="Pierre Cavaroc" userId="150eff99-6aed-48f0-b13c-cabd0a4b3ac2" providerId="ADAL" clId="{E623609C-0EF4-4ECB-A655-127E285B354B}" dt="2021-03-21T02:01:37.126" v="1491" actId="1076"/>
          <pc:sldLayoutMkLst>
            <pc:docMk/>
            <pc:sldMasterMk cId="0" sldId="2147483660"/>
            <pc:sldLayoutMk cId="2695682385" sldId="2147484015"/>
          </pc:sldLayoutMkLst>
          <pc:spChg chg="del">
            <ac:chgData name="Pierre Cavaroc" userId="150eff99-6aed-48f0-b13c-cabd0a4b3ac2" providerId="ADAL" clId="{E623609C-0EF4-4ECB-A655-127E285B354B}" dt="2021-03-20T21:43:57.061" v="1236" actId="478"/>
            <ac:spMkLst>
              <pc:docMk/>
              <pc:sldMasterMk cId="0" sldId="2147483660"/>
              <pc:sldLayoutMk cId="2695682385" sldId="2147484015"/>
              <ac:spMk id="9" creationId="{611DE428-05D4-42FE-B9C2-02D4220CDC45}"/>
            </ac:spMkLst>
          </pc:spChg>
          <pc:spChg chg="add del mod">
            <ac:chgData name="Pierre Cavaroc" userId="150eff99-6aed-48f0-b13c-cabd0a4b3ac2" providerId="ADAL" clId="{E623609C-0EF4-4ECB-A655-127E285B354B}" dt="2021-03-20T21:49:22.134" v="1319" actId="478"/>
            <ac:spMkLst>
              <pc:docMk/>
              <pc:sldMasterMk cId="0" sldId="2147483660"/>
              <pc:sldLayoutMk cId="2695682385" sldId="2147484015"/>
              <ac:spMk id="13" creationId="{4C82B243-EC10-43EB-A85D-474922FB7CCC}"/>
            </ac:spMkLst>
          </pc:spChg>
          <pc:spChg chg="add mod">
            <ac:chgData name="Pierre Cavaroc" userId="150eff99-6aed-48f0-b13c-cabd0a4b3ac2" providerId="ADAL" clId="{E623609C-0EF4-4ECB-A655-127E285B354B}" dt="2021-03-20T21:49:26.615" v="1321" actId="207"/>
            <ac:spMkLst>
              <pc:docMk/>
              <pc:sldMasterMk cId="0" sldId="2147483660"/>
              <pc:sldLayoutMk cId="2695682385" sldId="2147484015"/>
              <ac:spMk id="14" creationId="{189C0C48-B8C4-4624-9783-FF3D0CE0145F}"/>
            </ac:spMkLst>
          </pc:spChg>
          <pc:spChg chg="mod">
            <ac:chgData name="Pierre Cavaroc" userId="150eff99-6aed-48f0-b13c-cabd0a4b3ac2" providerId="ADAL" clId="{E623609C-0EF4-4ECB-A655-127E285B354B}" dt="2021-03-21T02:01:37.126" v="1491" actId="1076"/>
            <ac:spMkLst>
              <pc:docMk/>
              <pc:sldMasterMk cId="0" sldId="2147483660"/>
              <pc:sldLayoutMk cId="2695682385" sldId="2147484015"/>
              <ac:spMk id="27" creationId="{2DEBE434-B189-41F7-9989-933C96012489}"/>
            </ac:spMkLst>
          </pc:spChg>
          <pc:picChg chg="del">
            <ac:chgData name="Pierre Cavaroc" userId="150eff99-6aed-48f0-b13c-cabd0a4b3ac2" providerId="ADAL" clId="{E623609C-0EF4-4ECB-A655-127E285B354B}" dt="2021-03-20T21:43:55.534" v="1235" actId="478"/>
            <ac:picMkLst>
              <pc:docMk/>
              <pc:sldMasterMk cId="0" sldId="2147483660"/>
              <pc:sldLayoutMk cId="2695682385" sldId="2147484015"/>
              <ac:picMk id="12" creationId="{4D4D8731-44F2-4F21-9C8F-B0EF1466D612}"/>
            </ac:picMkLst>
          </pc:picChg>
        </pc:sldLayoutChg>
        <pc:sldLayoutChg chg="addSp delSp modSp mod setBg">
          <pc:chgData name="Pierre Cavaroc" userId="150eff99-6aed-48f0-b13c-cabd0a4b3ac2" providerId="ADAL" clId="{E623609C-0EF4-4ECB-A655-127E285B354B}" dt="2021-03-21T02:01:04.106" v="1485" actId="1076"/>
          <pc:sldLayoutMkLst>
            <pc:docMk/>
            <pc:sldMasterMk cId="0" sldId="2147483660"/>
            <pc:sldLayoutMk cId="3437089575" sldId="2147484016"/>
          </pc:sldLayoutMkLst>
          <pc:spChg chg="del mod">
            <ac:chgData name="Pierre Cavaroc" userId="150eff99-6aed-48f0-b13c-cabd0a4b3ac2" providerId="ADAL" clId="{E623609C-0EF4-4ECB-A655-127E285B354B}" dt="2021-03-20T21:45:11.206" v="1279" actId="478"/>
            <ac:spMkLst>
              <pc:docMk/>
              <pc:sldMasterMk cId="0" sldId="2147483660"/>
              <pc:sldLayoutMk cId="3437089575" sldId="2147484016"/>
              <ac:spMk id="9" creationId="{611DE428-05D4-42FE-B9C2-02D4220CDC45}"/>
            </ac:spMkLst>
          </pc:spChg>
          <pc:spChg chg="add del mod">
            <ac:chgData name="Pierre Cavaroc" userId="150eff99-6aed-48f0-b13c-cabd0a4b3ac2" providerId="ADAL" clId="{E623609C-0EF4-4ECB-A655-127E285B354B}" dt="2021-03-20T21:50:54.524" v="1349" actId="478"/>
            <ac:spMkLst>
              <pc:docMk/>
              <pc:sldMasterMk cId="0" sldId="2147483660"/>
              <pc:sldLayoutMk cId="3437089575" sldId="2147484016"/>
              <ac:spMk id="13" creationId="{0804312D-538E-4ACA-B0E5-42729B3CE5FE}"/>
            </ac:spMkLst>
          </pc:spChg>
          <pc:spChg chg="add mod">
            <ac:chgData name="Pierre Cavaroc" userId="150eff99-6aed-48f0-b13c-cabd0a4b3ac2" providerId="ADAL" clId="{E623609C-0EF4-4ECB-A655-127E285B354B}" dt="2021-03-20T21:50:57.598" v="1351" actId="207"/>
            <ac:spMkLst>
              <pc:docMk/>
              <pc:sldMasterMk cId="0" sldId="2147483660"/>
              <pc:sldLayoutMk cId="3437089575" sldId="2147484016"/>
              <ac:spMk id="14" creationId="{74E2176F-A29C-4439-B4BB-CDEC9D46B4A3}"/>
            </ac:spMkLst>
          </pc:spChg>
          <pc:spChg chg="mod">
            <ac:chgData name="Pierre Cavaroc" userId="150eff99-6aed-48f0-b13c-cabd0a4b3ac2" providerId="ADAL" clId="{E623609C-0EF4-4ECB-A655-127E285B354B}" dt="2021-03-21T02:01:04.106" v="1485" actId="1076"/>
            <ac:spMkLst>
              <pc:docMk/>
              <pc:sldMasterMk cId="0" sldId="2147483660"/>
              <pc:sldLayoutMk cId="3437089575" sldId="2147484016"/>
              <ac:spMk id="27" creationId="{2DEBE434-B189-41F7-9989-933C96012489}"/>
            </ac:spMkLst>
          </pc:spChg>
          <pc:picChg chg="del">
            <ac:chgData name="Pierre Cavaroc" userId="150eff99-6aed-48f0-b13c-cabd0a4b3ac2" providerId="ADAL" clId="{E623609C-0EF4-4ECB-A655-127E285B354B}" dt="2021-03-20T21:45:09.445" v="1278" actId="478"/>
            <ac:picMkLst>
              <pc:docMk/>
              <pc:sldMasterMk cId="0" sldId="2147483660"/>
              <pc:sldLayoutMk cId="3437089575" sldId="2147484016"/>
              <ac:picMk id="12" creationId="{9E606733-B31E-4ACD-BD9C-EE109BAF68E1}"/>
            </ac:picMkLst>
          </pc:picChg>
        </pc:sldLayoutChg>
        <pc:sldLayoutChg chg="delSp mod setBg">
          <pc:chgData name="Pierre Cavaroc" userId="150eff99-6aed-48f0-b13c-cabd0a4b3ac2" providerId="ADAL" clId="{E623609C-0EF4-4ECB-A655-127E285B354B}" dt="2021-03-20T21:44:28.582" v="1247" actId="478"/>
          <pc:sldLayoutMkLst>
            <pc:docMk/>
            <pc:sldMasterMk cId="0" sldId="2147483660"/>
            <pc:sldLayoutMk cId="111725785" sldId="2147484017"/>
          </pc:sldLayoutMkLst>
          <pc:picChg chg="del">
            <ac:chgData name="Pierre Cavaroc" userId="150eff99-6aed-48f0-b13c-cabd0a4b3ac2" providerId="ADAL" clId="{E623609C-0EF4-4ECB-A655-127E285B354B}" dt="2021-03-20T21:44:28.582" v="1247" actId="478"/>
            <ac:picMkLst>
              <pc:docMk/>
              <pc:sldMasterMk cId="0" sldId="2147483660"/>
              <pc:sldLayoutMk cId="111725785" sldId="2147484017"/>
              <ac:picMk id="12" creationId="{D98207E5-CFE2-4EE0-85DD-B592C4554267}"/>
            </ac:picMkLst>
          </pc:picChg>
        </pc:sldLayoutChg>
        <pc:sldLayoutChg chg="addSp delSp modSp mod setBg">
          <pc:chgData name="Pierre Cavaroc" userId="150eff99-6aed-48f0-b13c-cabd0a4b3ac2" providerId="ADAL" clId="{E623609C-0EF4-4ECB-A655-127E285B354B}" dt="2021-03-21T02:01:21.982" v="1488" actId="1076"/>
          <pc:sldLayoutMkLst>
            <pc:docMk/>
            <pc:sldMasterMk cId="0" sldId="2147483660"/>
            <pc:sldLayoutMk cId="1520179846" sldId="2147484018"/>
          </pc:sldLayoutMkLst>
          <pc:spChg chg="del">
            <ac:chgData name="Pierre Cavaroc" userId="150eff99-6aed-48f0-b13c-cabd0a4b3ac2" providerId="ADAL" clId="{E623609C-0EF4-4ECB-A655-127E285B354B}" dt="2021-03-20T21:44:56.229" v="1275" actId="478"/>
            <ac:spMkLst>
              <pc:docMk/>
              <pc:sldMasterMk cId="0" sldId="2147483660"/>
              <pc:sldLayoutMk cId="1520179846" sldId="2147484018"/>
              <ac:spMk id="9" creationId="{611DE428-05D4-42FE-B9C2-02D4220CDC45}"/>
            </ac:spMkLst>
          </pc:spChg>
          <pc:spChg chg="add del mod">
            <ac:chgData name="Pierre Cavaroc" userId="150eff99-6aed-48f0-b13c-cabd0a4b3ac2" providerId="ADAL" clId="{E623609C-0EF4-4ECB-A655-127E285B354B}" dt="2021-03-20T21:49:06.605" v="1314" actId="478"/>
            <ac:spMkLst>
              <pc:docMk/>
              <pc:sldMasterMk cId="0" sldId="2147483660"/>
              <pc:sldLayoutMk cId="1520179846" sldId="2147484018"/>
              <ac:spMk id="12" creationId="{359D22EC-DF4F-49F1-89FD-1CA63AE78282}"/>
            </ac:spMkLst>
          </pc:spChg>
          <pc:spChg chg="add mod">
            <ac:chgData name="Pierre Cavaroc" userId="150eff99-6aed-48f0-b13c-cabd0a4b3ac2" providerId="ADAL" clId="{E623609C-0EF4-4ECB-A655-127E285B354B}" dt="2021-03-20T21:49:11.878" v="1316" actId="207"/>
            <ac:spMkLst>
              <pc:docMk/>
              <pc:sldMasterMk cId="0" sldId="2147483660"/>
              <pc:sldLayoutMk cId="1520179846" sldId="2147484018"/>
              <ac:spMk id="13" creationId="{9B76371A-247B-47BA-98A0-14CE8634409D}"/>
            </ac:spMkLst>
          </pc:spChg>
          <pc:spChg chg="mod">
            <ac:chgData name="Pierre Cavaroc" userId="150eff99-6aed-48f0-b13c-cabd0a4b3ac2" providerId="ADAL" clId="{E623609C-0EF4-4ECB-A655-127E285B354B}" dt="2021-03-21T02:01:21.982" v="1488" actId="1076"/>
            <ac:spMkLst>
              <pc:docMk/>
              <pc:sldMasterMk cId="0" sldId="2147483660"/>
              <pc:sldLayoutMk cId="1520179846" sldId="2147484018"/>
              <ac:spMk id="27" creationId="{2DEBE434-B189-41F7-9989-933C96012489}"/>
            </ac:spMkLst>
          </pc:spChg>
          <pc:picChg chg="del">
            <ac:chgData name="Pierre Cavaroc" userId="150eff99-6aed-48f0-b13c-cabd0a4b3ac2" providerId="ADAL" clId="{E623609C-0EF4-4ECB-A655-127E285B354B}" dt="2021-03-20T21:44:54.070" v="1274" actId="478"/>
            <ac:picMkLst>
              <pc:docMk/>
              <pc:sldMasterMk cId="0" sldId="2147483660"/>
              <pc:sldLayoutMk cId="1520179846" sldId="2147484018"/>
              <ac:picMk id="3" creationId="{6FC170E1-0FA9-412A-B06D-CBDEDBFC2456}"/>
            </ac:picMkLst>
          </pc:picChg>
        </pc:sldLayoutChg>
        <pc:sldLayoutChg chg="addSp delSp modSp mod setBg">
          <pc:chgData name="Pierre Cavaroc" userId="150eff99-6aed-48f0-b13c-cabd0a4b3ac2" providerId="ADAL" clId="{E623609C-0EF4-4ECB-A655-127E285B354B}" dt="2021-03-21T01:58:44.348" v="1483"/>
          <pc:sldLayoutMkLst>
            <pc:docMk/>
            <pc:sldMasterMk cId="0" sldId="2147483660"/>
            <pc:sldLayoutMk cId="4040499758" sldId="2147484019"/>
          </pc:sldLayoutMkLst>
          <pc:spChg chg="add mod ord">
            <ac:chgData name="Pierre Cavaroc" userId="150eff99-6aed-48f0-b13c-cabd0a4b3ac2" providerId="ADAL" clId="{E623609C-0EF4-4ECB-A655-127E285B354B}" dt="2021-03-20T17:50:27.874" v="785" actId="14100"/>
            <ac:spMkLst>
              <pc:docMk/>
              <pc:sldMasterMk cId="0" sldId="2147483660"/>
              <pc:sldLayoutMk cId="4040499758" sldId="2147484019"/>
              <ac:spMk id="2" creationId="{93A95E5F-6894-4E42-BA80-A12F6FE7F598}"/>
            </ac:spMkLst>
          </pc:spChg>
          <pc:spChg chg="del mod">
            <ac:chgData name="Pierre Cavaroc" userId="150eff99-6aed-48f0-b13c-cabd0a4b3ac2" providerId="ADAL" clId="{E623609C-0EF4-4ECB-A655-127E285B354B}" dt="2021-03-20T21:44:35.255" v="1248" actId="478"/>
            <ac:spMkLst>
              <pc:docMk/>
              <pc:sldMasterMk cId="0" sldId="2147483660"/>
              <pc:sldLayoutMk cId="4040499758" sldId="2147484019"/>
              <ac:spMk id="9" creationId="{611DE428-05D4-42FE-B9C2-02D4220CDC45}"/>
            </ac:spMkLst>
          </pc:spChg>
          <pc:spChg chg="add mod">
            <ac:chgData name="Pierre Cavaroc" userId="150eff99-6aed-48f0-b13c-cabd0a4b3ac2" providerId="ADAL" clId="{E623609C-0EF4-4ECB-A655-127E285B354B}" dt="2021-03-20T21:48:16.939" v="1309" actId="1076"/>
            <ac:spMkLst>
              <pc:docMk/>
              <pc:sldMasterMk cId="0" sldId="2147483660"/>
              <pc:sldLayoutMk cId="4040499758" sldId="2147484019"/>
              <ac:spMk id="13" creationId="{DFB25F9C-7D34-4E31-87EA-0E0C68D9D432}"/>
            </ac:spMkLst>
          </pc:spChg>
          <pc:spChg chg="mod">
            <ac:chgData name="Pierre Cavaroc" userId="150eff99-6aed-48f0-b13c-cabd0a4b3ac2" providerId="ADAL" clId="{E623609C-0EF4-4ECB-A655-127E285B354B}" dt="2021-03-21T01:58:44.348" v="1483"/>
            <ac:spMkLst>
              <pc:docMk/>
              <pc:sldMasterMk cId="0" sldId="2147483660"/>
              <pc:sldLayoutMk cId="4040499758" sldId="2147484019"/>
              <ac:spMk id="27" creationId="{2DEBE434-B189-41F7-9989-933C96012489}"/>
            </ac:spMkLst>
          </pc:spChg>
          <pc:picChg chg="del">
            <ac:chgData name="Pierre Cavaroc" userId="150eff99-6aed-48f0-b13c-cabd0a4b3ac2" providerId="ADAL" clId="{E623609C-0EF4-4ECB-A655-127E285B354B}" dt="2021-03-20T17:46:34.410" v="758" actId="478"/>
            <ac:picMkLst>
              <pc:docMk/>
              <pc:sldMasterMk cId="0" sldId="2147483660"/>
              <pc:sldLayoutMk cId="4040499758" sldId="2147484019"/>
              <ac:picMk id="8" creationId="{8F31C58B-8D94-4E6B-88CE-5D81F7F270D7}"/>
            </ac:picMkLst>
          </pc:picChg>
          <pc:picChg chg="add del mod">
            <ac:chgData name="Pierre Cavaroc" userId="150eff99-6aed-48f0-b13c-cabd0a4b3ac2" providerId="ADAL" clId="{E623609C-0EF4-4ECB-A655-127E285B354B}" dt="2021-03-20T17:46:33.322" v="757"/>
            <ac:picMkLst>
              <pc:docMk/>
              <pc:sldMasterMk cId="0" sldId="2147483660"/>
              <pc:sldLayoutMk cId="4040499758" sldId="2147484019"/>
              <ac:picMk id="13" creationId="{C5E15CF8-220A-4F72-84D2-D6BF52E2BFEF}"/>
            </ac:picMkLst>
          </pc:picChg>
          <pc:picChg chg="add del mod">
            <ac:chgData name="Pierre Cavaroc" userId="150eff99-6aed-48f0-b13c-cabd0a4b3ac2" providerId="ADAL" clId="{E623609C-0EF4-4ECB-A655-127E285B354B}" dt="2021-03-20T21:33:20.373" v="1178" actId="478"/>
            <ac:picMkLst>
              <pc:docMk/>
              <pc:sldMasterMk cId="0" sldId="2147483660"/>
              <pc:sldLayoutMk cId="4040499758" sldId="2147484019"/>
              <ac:picMk id="14" creationId="{2030DFD7-2B58-45C9-B232-549400B61312}"/>
            </ac:picMkLst>
          </pc:picChg>
        </pc:sldLayoutChg>
        <pc:sldLayoutChg chg="addSp delSp modSp mod setBg">
          <pc:chgData name="Pierre Cavaroc" userId="150eff99-6aed-48f0-b13c-cabd0a4b3ac2" providerId="ADAL" clId="{E623609C-0EF4-4ECB-A655-127E285B354B}" dt="2021-03-20T21:48:54.100" v="1313" actId="207"/>
          <pc:sldLayoutMkLst>
            <pc:docMk/>
            <pc:sldMasterMk cId="0" sldId="2147483660"/>
            <pc:sldLayoutMk cId="1969302699" sldId="2147484020"/>
          </pc:sldLayoutMkLst>
          <pc:spChg chg="del mod">
            <ac:chgData name="Pierre Cavaroc" userId="150eff99-6aed-48f0-b13c-cabd0a4b3ac2" providerId="ADAL" clId="{E623609C-0EF4-4ECB-A655-127E285B354B}" dt="2021-03-20T21:44:21.589" v="1245" actId="478"/>
            <ac:spMkLst>
              <pc:docMk/>
              <pc:sldMasterMk cId="0" sldId="2147483660"/>
              <pc:sldLayoutMk cId="1969302699" sldId="2147484020"/>
              <ac:spMk id="9" creationId="{611DE428-05D4-42FE-B9C2-02D4220CDC45}"/>
            </ac:spMkLst>
          </pc:spChg>
          <pc:spChg chg="add del mod">
            <ac:chgData name="Pierre Cavaroc" userId="150eff99-6aed-48f0-b13c-cabd0a4b3ac2" providerId="ADAL" clId="{E623609C-0EF4-4ECB-A655-127E285B354B}" dt="2021-03-20T21:48:45.357" v="1311" actId="478"/>
            <ac:spMkLst>
              <pc:docMk/>
              <pc:sldMasterMk cId="0" sldId="2147483660"/>
              <pc:sldLayoutMk cId="1969302699" sldId="2147484020"/>
              <ac:spMk id="13" creationId="{CAEDC1D2-3765-4B44-8003-DF2059C4BD57}"/>
            </ac:spMkLst>
          </pc:spChg>
          <pc:spChg chg="add mod">
            <ac:chgData name="Pierre Cavaroc" userId="150eff99-6aed-48f0-b13c-cabd0a4b3ac2" providerId="ADAL" clId="{E623609C-0EF4-4ECB-A655-127E285B354B}" dt="2021-03-20T21:48:54.100" v="1313" actId="207"/>
            <ac:spMkLst>
              <pc:docMk/>
              <pc:sldMasterMk cId="0" sldId="2147483660"/>
              <pc:sldLayoutMk cId="1969302699" sldId="2147484020"/>
              <ac:spMk id="14" creationId="{001D8C19-59B8-42A8-976A-9CBFCAAC7A96}"/>
            </ac:spMkLst>
          </pc:spChg>
          <pc:picChg chg="del">
            <ac:chgData name="Pierre Cavaroc" userId="150eff99-6aed-48f0-b13c-cabd0a4b3ac2" providerId="ADAL" clId="{E623609C-0EF4-4ECB-A655-127E285B354B}" dt="2021-03-20T21:44:18.518" v="1243" actId="478"/>
            <ac:picMkLst>
              <pc:docMk/>
              <pc:sldMasterMk cId="0" sldId="2147483660"/>
              <pc:sldLayoutMk cId="1969302699" sldId="2147484020"/>
              <ac:picMk id="12" creationId="{2AF00469-FA5B-489C-BF9B-A8D665819060}"/>
            </ac:picMkLst>
          </pc:picChg>
        </pc:sldLayoutChg>
        <pc:sldLayoutChg chg="addSp delSp modSp mod setBg">
          <pc:chgData name="Pierre Cavaroc" userId="150eff99-6aed-48f0-b13c-cabd0a4b3ac2" providerId="ADAL" clId="{E623609C-0EF4-4ECB-A655-127E285B354B}" dt="2021-03-21T02:01:12.876" v="1487" actId="1076"/>
          <pc:sldLayoutMkLst>
            <pc:docMk/>
            <pc:sldMasterMk cId="0" sldId="2147483660"/>
            <pc:sldLayoutMk cId="3851426817" sldId="2147484021"/>
          </pc:sldLayoutMkLst>
          <pc:spChg chg="add del mod">
            <ac:chgData name="Pierre Cavaroc" userId="150eff99-6aed-48f0-b13c-cabd0a4b3ac2" providerId="ADAL" clId="{E623609C-0EF4-4ECB-A655-127E285B354B}" dt="2021-03-20T21:51:26.620" v="1358" actId="478"/>
            <ac:spMkLst>
              <pc:docMk/>
              <pc:sldMasterMk cId="0" sldId="2147483660"/>
              <pc:sldLayoutMk cId="3851426817" sldId="2147484021"/>
              <ac:spMk id="7" creationId="{A2EF21B8-416C-4310-9FA8-4FD446A7C924}"/>
            </ac:spMkLst>
          </pc:spChg>
          <pc:spChg chg="add mod">
            <ac:chgData name="Pierre Cavaroc" userId="150eff99-6aed-48f0-b13c-cabd0a4b3ac2" providerId="ADAL" clId="{E623609C-0EF4-4ECB-A655-127E285B354B}" dt="2021-03-20T21:51:29.640" v="1360" actId="207"/>
            <ac:spMkLst>
              <pc:docMk/>
              <pc:sldMasterMk cId="0" sldId="2147483660"/>
              <pc:sldLayoutMk cId="3851426817" sldId="2147484021"/>
              <ac:spMk id="8" creationId="{5E9E7602-B7B2-4AE8-BEB6-6F6159180FEE}"/>
            </ac:spMkLst>
          </pc:spChg>
          <pc:spChg chg="del">
            <ac:chgData name="Pierre Cavaroc" userId="150eff99-6aed-48f0-b13c-cabd0a4b3ac2" providerId="ADAL" clId="{E623609C-0EF4-4ECB-A655-127E285B354B}" dt="2021-03-20T21:45:39.997" v="1299" actId="478"/>
            <ac:spMkLst>
              <pc:docMk/>
              <pc:sldMasterMk cId="0" sldId="2147483660"/>
              <pc:sldLayoutMk cId="3851426817" sldId="2147484021"/>
              <ac:spMk id="9" creationId="{611DE428-05D4-42FE-B9C2-02D4220CDC45}"/>
            </ac:spMkLst>
          </pc:spChg>
          <pc:spChg chg="mod">
            <ac:chgData name="Pierre Cavaroc" userId="150eff99-6aed-48f0-b13c-cabd0a4b3ac2" providerId="ADAL" clId="{E623609C-0EF4-4ECB-A655-127E285B354B}" dt="2021-03-21T02:01:12.876" v="1487" actId="1076"/>
            <ac:spMkLst>
              <pc:docMk/>
              <pc:sldMasterMk cId="0" sldId="2147483660"/>
              <pc:sldLayoutMk cId="3851426817" sldId="2147484021"/>
              <ac:spMk id="27" creationId="{2DEBE434-B189-41F7-9989-933C96012489}"/>
            </ac:spMkLst>
          </pc:spChg>
          <pc:picChg chg="del">
            <ac:chgData name="Pierre Cavaroc" userId="150eff99-6aed-48f0-b13c-cabd0a4b3ac2" providerId="ADAL" clId="{E623609C-0EF4-4ECB-A655-127E285B354B}" dt="2021-03-20T21:45:38.445" v="1298" actId="478"/>
            <ac:picMkLst>
              <pc:docMk/>
              <pc:sldMasterMk cId="0" sldId="2147483660"/>
              <pc:sldLayoutMk cId="3851426817" sldId="2147484021"/>
              <ac:picMk id="3" creationId="{6FC170E1-0FA9-412A-B06D-CBDEDBFC2456}"/>
            </ac:picMkLst>
          </pc:picChg>
        </pc:sldLayoutChg>
        <pc:sldLayoutChg chg="addSp delSp modSp mod setBg">
          <pc:chgData name="Pierre Cavaroc" userId="150eff99-6aed-48f0-b13c-cabd0a4b3ac2" providerId="ADAL" clId="{E623609C-0EF4-4ECB-A655-127E285B354B}" dt="2021-03-21T02:00:57.124" v="1484" actId="1076"/>
          <pc:sldLayoutMkLst>
            <pc:docMk/>
            <pc:sldMasterMk cId="0" sldId="2147483660"/>
            <pc:sldLayoutMk cId="1373819890" sldId="2147484022"/>
          </pc:sldLayoutMkLst>
          <pc:spChg chg="add del mod">
            <ac:chgData name="Pierre Cavaroc" userId="150eff99-6aed-48f0-b13c-cabd0a4b3ac2" providerId="ADAL" clId="{E623609C-0EF4-4ECB-A655-127E285B354B}" dt="2021-03-20T21:51:16.693" v="1355" actId="478"/>
            <ac:spMkLst>
              <pc:docMk/>
              <pc:sldMasterMk cId="0" sldId="2147483660"/>
              <pc:sldLayoutMk cId="1373819890" sldId="2147484022"/>
              <ac:spMk id="7" creationId="{88100539-E055-4A25-83F3-3E36A488A233}"/>
            </ac:spMkLst>
          </pc:spChg>
          <pc:spChg chg="add mod">
            <ac:chgData name="Pierre Cavaroc" userId="150eff99-6aed-48f0-b13c-cabd0a4b3ac2" providerId="ADAL" clId="{E623609C-0EF4-4ECB-A655-127E285B354B}" dt="2021-03-20T21:51:21.508" v="1357" actId="207"/>
            <ac:spMkLst>
              <pc:docMk/>
              <pc:sldMasterMk cId="0" sldId="2147483660"/>
              <pc:sldLayoutMk cId="1373819890" sldId="2147484022"/>
              <ac:spMk id="8" creationId="{67B541FC-D4C1-4CEF-B2F2-C043B2628018}"/>
            </ac:spMkLst>
          </pc:spChg>
          <pc:spChg chg="del mod">
            <ac:chgData name="Pierre Cavaroc" userId="150eff99-6aed-48f0-b13c-cabd0a4b3ac2" providerId="ADAL" clId="{E623609C-0EF4-4ECB-A655-127E285B354B}" dt="2021-03-20T21:45:30.325" v="1295" actId="478"/>
            <ac:spMkLst>
              <pc:docMk/>
              <pc:sldMasterMk cId="0" sldId="2147483660"/>
              <pc:sldLayoutMk cId="1373819890" sldId="2147484022"/>
              <ac:spMk id="9" creationId="{611DE428-05D4-42FE-B9C2-02D4220CDC45}"/>
            </ac:spMkLst>
          </pc:spChg>
          <pc:spChg chg="mod">
            <ac:chgData name="Pierre Cavaroc" userId="150eff99-6aed-48f0-b13c-cabd0a4b3ac2" providerId="ADAL" clId="{E623609C-0EF4-4ECB-A655-127E285B354B}" dt="2021-03-21T02:00:57.124" v="1484" actId="1076"/>
            <ac:spMkLst>
              <pc:docMk/>
              <pc:sldMasterMk cId="0" sldId="2147483660"/>
              <pc:sldLayoutMk cId="1373819890" sldId="2147484022"/>
              <ac:spMk id="27" creationId="{2DEBE434-B189-41F7-9989-933C96012489}"/>
            </ac:spMkLst>
          </pc:spChg>
          <pc:picChg chg="del">
            <ac:chgData name="Pierre Cavaroc" userId="150eff99-6aed-48f0-b13c-cabd0a4b3ac2" providerId="ADAL" clId="{E623609C-0EF4-4ECB-A655-127E285B354B}" dt="2021-03-20T21:45:29.038" v="1294" actId="478"/>
            <ac:picMkLst>
              <pc:docMk/>
              <pc:sldMasterMk cId="0" sldId="2147483660"/>
              <pc:sldLayoutMk cId="1373819890" sldId="2147484022"/>
              <ac:picMk id="3" creationId="{6FC170E1-0FA9-412A-B06D-CBDEDBFC2456}"/>
            </ac:picMkLst>
          </pc:picChg>
        </pc:sldLayoutChg>
        <pc:sldLayoutChg chg="addSp delSp modSp del mod setBg">
          <pc:chgData name="Pierre Cavaroc" userId="150eff99-6aed-48f0-b13c-cabd0a4b3ac2" providerId="ADAL" clId="{E623609C-0EF4-4ECB-A655-127E285B354B}" dt="2021-03-20T21:51:09.735" v="1354" actId="2696"/>
          <pc:sldLayoutMkLst>
            <pc:docMk/>
            <pc:sldMasterMk cId="0" sldId="2147483660"/>
            <pc:sldLayoutMk cId="3440994750" sldId="2147484023"/>
          </pc:sldLayoutMkLst>
          <pc:spChg chg="add del mod">
            <ac:chgData name="Pierre Cavaroc" userId="150eff99-6aed-48f0-b13c-cabd0a4b3ac2" providerId="ADAL" clId="{E623609C-0EF4-4ECB-A655-127E285B354B}" dt="2021-03-20T21:51:00.580" v="1352" actId="478"/>
            <ac:spMkLst>
              <pc:docMk/>
              <pc:sldMasterMk cId="0" sldId="2147483660"/>
              <pc:sldLayoutMk cId="3440994750" sldId="2147484023"/>
              <ac:spMk id="7" creationId="{28306CEC-4544-4656-994F-9FC6C08CBA9B}"/>
            </ac:spMkLst>
          </pc:spChg>
          <pc:spChg chg="add mod">
            <ac:chgData name="Pierre Cavaroc" userId="150eff99-6aed-48f0-b13c-cabd0a4b3ac2" providerId="ADAL" clId="{E623609C-0EF4-4ECB-A655-127E285B354B}" dt="2021-03-20T21:51:01.443" v="1353"/>
            <ac:spMkLst>
              <pc:docMk/>
              <pc:sldMasterMk cId="0" sldId="2147483660"/>
              <pc:sldLayoutMk cId="3440994750" sldId="2147484023"/>
              <ac:spMk id="8" creationId="{3C38BF87-16CB-470B-9EBA-C90ED780287A}"/>
            </ac:spMkLst>
          </pc:spChg>
          <pc:spChg chg="del mod">
            <ac:chgData name="Pierre Cavaroc" userId="150eff99-6aed-48f0-b13c-cabd0a4b3ac2" providerId="ADAL" clId="{E623609C-0EF4-4ECB-A655-127E285B354B}" dt="2021-03-20T21:45:22.796" v="1291" actId="478"/>
            <ac:spMkLst>
              <pc:docMk/>
              <pc:sldMasterMk cId="0" sldId="2147483660"/>
              <pc:sldLayoutMk cId="3440994750" sldId="2147484023"/>
              <ac:spMk id="9" creationId="{611DE428-05D4-42FE-B9C2-02D4220CDC45}"/>
            </ac:spMkLst>
          </pc:spChg>
          <pc:picChg chg="del">
            <ac:chgData name="Pierre Cavaroc" userId="150eff99-6aed-48f0-b13c-cabd0a4b3ac2" providerId="ADAL" clId="{E623609C-0EF4-4ECB-A655-127E285B354B}" dt="2021-03-20T21:45:21.518" v="1290" actId="478"/>
            <ac:picMkLst>
              <pc:docMk/>
              <pc:sldMasterMk cId="0" sldId="2147483660"/>
              <pc:sldLayoutMk cId="3440994750" sldId="2147484023"/>
              <ac:picMk id="3" creationId="{6FC170E1-0FA9-412A-B06D-CBDEDBFC2456}"/>
            </ac:picMkLst>
          </pc:picChg>
        </pc:sldLayoutChg>
        <pc:sldLayoutChg chg="addSp delSp modSp mod setBg">
          <pc:chgData name="Pierre Cavaroc" userId="150eff99-6aed-48f0-b13c-cabd0a4b3ac2" providerId="ADAL" clId="{E623609C-0EF4-4ECB-A655-127E285B354B}" dt="2021-03-21T02:01:54.272" v="1494" actId="1076"/>
          <pc:sldLayoutMkLst>
            <pc:docMk/>
            <pc:sldMasterMk cId="0" sldId="2147483660"/>
            <pc:sldLayoutMk cId="4276265801" sldId="2147484024"/>
          </pc:sldLayoutMkLst>
          <pc:spChg chg="del mod">
            <ac:chgData name="Pierre Cavaroc" userId="150eff99-6aed-48f0-b13c-cabd0a4b3ac2" providerId="ADAL" clId="{E623609C-0EF4-4ECB-A655-127E285B354B}" dt="2021-03-20T21:43:27.669" v="1228" actId="478"/>
            <ac:spMkLst>
              <pc:docMk/>
              <pc:sldMasterMk cId="0" sldId="2147483660"/>
              <pc:sldLayoutMk cId="4276265801" sldId="2147484024"/>
              <ac:spMk id="9" creationId="{611DE428-05D4-42FE-B9C2-02D4220CDC45}"/>
            </ac:spMkLst>
          </pc:spChg>
          <pc:spChg chg="add del mod">
            <ac:chgData name="Pierre Cavaroc" userId="150eff99-6aed-48f0-b13c-cabd0a4b3ac2" providerId="ADAL" clId="{E623609C-0EF4-4ECB-A655-127E285B354B}" dt="2021-03-20T21:49:42.517" v="1328" actId="478"/>
            <ac:spMkLst>
              <pc:docMk/>
              <pc:sldMasterMk cId="0" sldId="2147483660"/>
              <pc:sldLayoutMk cId="4276265801" sldId="2147484024"/>
              <ac:spMk id="12" creationId="{BBB81284-0D45-43BC-A10F-8CC38DC9879D}"/>
            </ac:spMkLst>
          </pc:spChg>
          <pc:spChg chg="add mod">
            <ac:chgData name="Pierre Cavaroc" userId="150eff99-6aed-48f0-b13c-cabd0a4b3ac2" providerId="ADAL" clId="{E623609C-0EF4-4ECB-A655-127E285B354B}" dt="2021-03-20T21:49:43.378" v="1329"/>
            <ac:spMkLst>
              <pc:docMk/>
              <pc:sldMasterMk cId="0" sldId="2147483660"/>
              <pc:sldLayoutMk cId="4276265801" sldId="2147484024"/>
              <ac:spMk id="13" creationId="{C9DFA443-1C4C-414A-AC7F-5279E30665EE}"/>
            </ac:spMkLst>
          </pc:spChg>
          <pc:spChg chg="mod">
            <ac:chgData name="Pierre Cavaroc" userId="150eff99-6aed-48f0-b13c-cabd0a4b3ac2" providerId="ADAL" clId="{E623609C-0EF4-4ECB-A655-127E285B354B}" dt="2021-03-21T02:01:54.272" v="1494" actId="1076"/>
            <ac:spMkLst>
              <pc:docMk/>
              <pc:sldMasterMk cId="0" sldId="2147483660"/>
              <pc:sldLayoutMk cId="4276265801" sldId="2147484024"/>
              <ac:spMk id="27" creationId="{2DEBE434-B189-41F7-9989-933C96012489}"/>
            </ac:spMkLst>
          </pc:spChg>
          <pc:picChg chg="del">
            <ac:chgData name="Pierre Cavaroc" userId="150eff99-6aed-48f0-b13c-cabd0a4b3ac2" providerId="ADAL" clId="{E623609C-0EF4-4ECB-A655-127E285B354B}" dt="2021-03-20T21:43:04.630" v="1222" actId="478"/>
            <ac:picMkLst>
              <pc:docMk/>
              <pc:sldMasterMk cId="0" sldId="2147483660"/>
              <pc:sldLayoutMk cId="4276265801" sldId="2147484024"/>
              <ac:picMk id="3" creationId="{43A1C648-BE9E-4056-A46A-82E385420374}"/>
            </ac:picMkLst>
          </pc:picChg>
        </pc:sldLayoutChg>
        <pc:sldLayoutChg chg="addSp delSp modSp add mod modTransition setBg">
          <pc:chgData name="Pierre Cavaroc" userId="150eff99-6aed-48f0-b13c-cabd0a4b3ac2" providerId="ADAL" clId="{E623609C-0EF4-4ECB-A655-127E285B354B}" dt="2021-03-20T21:50:26.208" v="1346" actId="14100"/>
          <pc:sldLayoutMkLst>
            <pc:docMk/>
            <pc:sldMasterMk cId="0" sldId="2147483660"/>
            <pc:sldLayoutMk cId="1301210305" sldId="2147484025"/>
          </pc:sldLayoutMkLst>
          <pc:spChg chg="add del mod ord">
            <ac:chgData name="Pierre Cavaroc" userId="150eff99-6aed-48f0-b13c-cabd0a4b3ac2" providerId="ADAL" clId="{E623609C-0EF4-4ECB-A655-127E285B354B}" dt="2021-03-20T21:50:16.655" v="1343" actId="478"/>
            <ac:spMkLst>
              <pc:docMk/>
              <pc:sldMasterMk cId="0" sldId="2147483660"/>
              <pc:sldLayoutMk cId="1301210305" sldId="2147484025"/>
              <ac:spMk id="2" creationId="{F59E769B-3B04-4AA2-B186-6A7DB1B3D343}"/>
            </ac:spMkLst>
          </pc:spChg>
          <pc:spChg chg="del mod">
            <ac:chgData name="Pierre Cavaroc" userId="150eff99-6aed-48f0-b13c-cabd0a4b3ac2" providerId="ADAL" clId="{E623609C-0EF4-4ECB-A655-127E285B354B}" dt="2021-03-20T21:50:19.229" v="1344" actId="478"/>
            <ac:spMkLst>
              <pc:docMk/>
              <pc:sldMasterMk cId="0" sldId="2147483660"/>
              <pc:sldLayoutMk cId="1301210305" sldId="2147484025"/>
              <ac:spMk id="9" creationId="{611DE428-05D4-42FE-B9C2-02D4220CDC45}"/>
            </ac:spMkLst>
          </pc:spChg>
          <pc:spChg chg="add del mod">
            <ac:chgData name="Pierre Cavaroc" userId="150eff99-6aed-48f0-b13c-cabd0a4b3ac2" providerId="ADAL" clId="{E623609C-0EF4-4ECB-A655-127E285B354B}" dt="2021-03-20T21:50:13.094" v="1341" actId="478"/>
            <ac:spMkLst>
              <pc:docMk/>
              <pc:sldMasterMk cId="0" sldId="2147483660"/>
              <pc:sldLayoutMk cId="1301210305" sldId="2147484025"/>
              <ac:spMk id="12" creationId="{E21018A7-35DE-4957-9455-8A4BE3FFFA55}"/>
            </ac:spMkLst>
          </pc:spChg>
          <pc:spChg chg="add mod">
            <ac:chgData name="Pierre Cavaroc" userId="150eff99-6aed-48f0-b13c-cabd0a4b3ac2" providerId="ADAL" clId="{E623609C-0EF4-4ECB-A655-127E285B354B}" dt="2021-03-20T21:50:26.208" v="1346" actId="14100"/>
            <ac:spMkLst>
              <pc:docMk/>
              <pc:sldMasterMk cId="0" sldId="2147483660"/>
              <pc:sldLayoutMk cId="1301210305" sldId="2147484025"/>
              <ac:spMk id="13" creationId="{90284A66-0A09-4796-B9ED-31B862D5E8EE}"/>
            </ac:spMkLst>
          </pc:spChg>
          <pc:spChg chg="del mod">
            <ac:chgData name="Pierre Cavaroc" userId="150eff99-6aed-48f0-b13c-cabd0a4b3ac2" providerId="ADAL" clId="{E623609C-0EF4-4ECB-A655-127E285B354B}" dt="2021-03-20T20:46:14.034" v="799" actId="478"/>
            <ac:spMkLst>
              <pc:docMk/>
              <pc:sldMasterMk cId="0" sldId="2147483660"/>
              <pc:sldLayoutMk cId="1301210305" sldId="2147484025"/>
              <ac:spMk id="27" creationId="{2DEBE434-B189-41F7-9989-933C96012489}"/>
            </ac:spMkLst>
          </pc:spChg>
          <pc:picChg chg="del">
            <ac:chgData name="Pierre Cavaroc" userId="150eff99-6aed-48f0-b13c-cabd0a4b3ac2" providerId="ADAL" clId="{E623609C-0EF4-4ECB-A655-127E285B354B}" dt="2021-03-20T21:32:23.558" v="1167" actId="478"/>
            <ac:picMkLst>
              <pc:docMk/>
              <pc:sldMasterMk cId="0" sldId="2147483660"/>
              <pc:sldLayoutMk cId="1301210305" sldId="2147484025"/>
              <ac:picMk id="3" creationId="{43A1C648-BE9E-4056-A46A-82E385420374}"/>
            </ac:picMkLst>
          </pc:picChg>
        </pc:sldLayoutChg>
      </pc:sldMasterChg>
      <pc:sldMasterChg chg="modSldLayout">
        <pc:chgData name="Pierre Cavaroc" userId="150eff99-6aed-48f0-b13c-cabd0a4b3ac2" providerId="ADAL" clId="{E623609C-0EF4-4ECB-A655-127E285B354B}" dt="2021-03-20T21:46:51.125" v="1305" actId="478"/>
        <pc:sldMasterMkLst>
          <pc:docMk/>
          <pc:sldMasterMk cId="0" sldId="2147484120"/>
        </pc:sldMasterMkLst>
        <pc:sldLayoutChg chg="delSp mod setBg">
          <pc:chgData name="Pierre Cavaroc" userId="150eff99-6aed-48f0-b13c-cabd0a4b3ac2" providerId="ADAL" clId="{E623609C-0EF4-4ECB-A655-127E285B354B}" dt="2021-03-20T21:46:51.125" v="1305" actId="478"/>
          <pc:sldLayoutMkLst>
            <pc:docMk/>
            <pc:sldMasterMk cId="0" sldId="2147484120"/>
            <pc:sldLayoutMk cId="4040499758" sldId="2147484121"/>
          </pc:sldLayoutMkLst>
          <pc:picChg chg="del">
            <ac:chgData name="Pierre Cavaroc" userId="150eff99-6aed-48f0-b13c-cabd0a4b3ac2" providerId="ADAL" clId="{E623609C-0EF4-4ECB-A655-127E285B354B}" dt="2021-03-20T21:46:51.125" v="1305" actId="478"/>
            <ac:picMkLst>
              <pc:docMk/>
              <pc:sldMasterMk cId="0" sldId="2147484120"/>
              <pc:sldLayoutMk cId="4040499758" sldId="2147484121"/>
              <ac:picMk id="8" creationId="{8F31C58B-8D94-4E6B-88CE-5D81F7F270D7}"/>
            </ac:picMkLst>
          </pc:picChg>
        </pc:sldLayoutChg>
        <pc:sldLayoutChg chg="delSp mod setBg">
          <pc:chgData name="Pierre Cavaroc" userId="150eff99-6aed-48f0-b13c-cabd0a4b3ac2" providerId="ADAL" clId="{E623609C-0EF4-4ECB-A655-127E285B354B}" dt="2021-03-20T21:46:49.213" v="1304" actId="478"/>
          <pc:sldLayoutMkLst>
            <pc:docMk/>
            <pc:sldMasterMk cId="0" sldId="2147484120"/>
            <pc:sldLayoutMk cId="307557068" sldId="2147484302"/>
          </pc:sldLayoutMkLst>
          <pc:picChg chg="del">
            <ac:chgData name="Pierre Cavaroc" userId="150eff99-6aed-48f0-b13c-cabd0a4b3ac2" providerId="ADAL" clId="{E623609C-0EF4-4ECB-A655-127E285B354B}" dt="2021-03-20T21:46:49.213" v="1304" actId="478"/>
            <ac:picMkLst>
              <pc:docMk/>
              <pc:sldMasterMk cId="0" sldId="2147484120"/>
              <pc:sldLayoutMk cId="307557068" sldId="2147484302"/>
              <ac:picMk id="12" creationId="{D98207E5-CFE2-4EE0-85DD-B592C4554267}"/>
            </ac:picMkLst>
          </pc:picChg>
        </pc:sldLayoutChg>
        <pc:sldLayoutChg chg="delSp mod setBg">
          <pc:chgData name="Pierre Cavaroc" userId="150eff99-6aed-48f0-b13c-cabd0a4b3ac2" providerId="ADAL" clId="{E623609C-0EF4-4ECB-A655-127E285B354B}" dt="2021-03-20T21:46:44.677" v="1302" actId="478"/>
          <pc:sldLayoutMkLst>
            <pc:docMk/>
            <pc:sldMasterMk cId="0" sldId="2147484120"/>
            <pc:sldLayoutMk cId="2464536273" sldId="2147484359"/>
          </pc:sldLayoutMkLst>
          <pc:picChg chg="del">
            <ac:chgData name="Pierre Cavaroc" userId="150eff99-6aed-48f0-b13c-cabd0a4b3ac2" providerId="ADAL" clId="{E623609C-0EF4-4ECB-A655-127E285B354B}" dt="2021-03-20T21:46:44.677" v="1302" actId="478"/>
            <ac:picMkLst>
              <pc:docMk/>
              <pc:sldMasterMk cId="0" sldId="2147484120"/>
              <pc:sldLayoutMk cId="2464536273" sldId="2147484359"/>
              <ac:picMk id="12" creationId="{D98207E5-CFE2-4EE0-85DD-B592C4554267}"/>
            </ac:picMkLst>
          </pc:picChg>
        </pc:sldLayoutChg>
        <pc:sldLayoutChg chg="delSp mod setBg">
          <pc:chgData name="Pierre Cavaroc" userId="150eff99-6aed-48f0-b13c-cabd0a4b3ac2" providerId="ADAL" clId="{E623609C-0EF4-4ECB-A655-127E285B354B}" dt="2021-03-20T21:46:46.541" v="1303" actId="478"/>
          <pc:sldLayoutMkLst>
            <pc:docMk/>
            <pc:sldMasterMk cId="0" sldId="2147484120"/>
            <pc:sldLayoutMk cId="2065903013" sldId="2147484365"/>
          </pc:sldLayoutMkLst>
          <pc:picChg chg="del">
            <ac:chgData name="Pierre Cavaroc" userId="150eff99-6aed-48f0-b13c-cabd0a4b3ac2" providerId="ADAL" clId="{E623609C-0EF4-4ECB-A655-127E285B354B}" dt="2021-03-20T21:46:46.541" v="1303" actId="478"/>
            <ac:picMkLst>
              <pc:docMk/>
              <pc:sldMasterMk cId="0" sldId="2147484120"/>
              <pc:sldLayoutMk cId="2065903013" sldId="2147484365"/>
              <ac:picMk id="12" creationId="{862E1030-39CA-4100-97B0-8BC59F2B7E6B}"/>
            </ac:picMkLst>
          </pc:picChg>
        </pc:sldLayoutChg>
        <pc:sldLayoutChg chg="setBg">
          <pc:chgData name="Pierre Cavaroc" userId="150eff99-6aed-48f0-b13c-cabd0a4b3ac2" providerId="ADAL" clId="{E623609C-0EF4-4ECB-A655-127E285B354B}" dt="2021-03-20T20:46:26.782" v="802"/>
          <pc:sldLayoutMkLst>
            <pc:docMk/>
            <pc:sldMasterMk cId="0" sldId="2147484120"/>
            <pc:sldLayoutMk cId="0" sldId="2147484366"/>
          </pc:sldLayoutMkLst>
        </pc:sldLayoutChg>
        <pc:sldLayoutChg chg="setBg">
          <pc:chgData name="Pierre Cavaroc" userId="150eff99-6aed-48f0-b13c-cabd0a4b3ac2" providerId="ADAL" clId="{E623609C-0EF4-4ECB-A655-127E285B354B}" dt="2021-03-20T20:46:26.782" v="802"/>
          <pc:sldLayoutMkLst>
            <pc:docMk/>
            <pc:sldMasterMk cId="0" sldId="2147484120"/>
            <pc:sldLayoutMk cId="4276265801" sldId="2147484367"/>
          </pc:sldLayoutMkLst>
        </pc:sldLayoutChg>
      </pc:sldMasterChg>
      <pc:sldMasterChg chg="modSldLayout">
        <pc:chgData name="Pierre Cavaroc" userId="150eff99-6aed-48f0-b13c-cabd0a4b3ac2" providerId="ADAL" clId="{E623609C-0EF4-4ECB-A655-127E285B354B}" dt="2021-03-20T20:46:26.782" v="802"/>
        <pc:sldMasterMkLst>
          <pc:docMk/>
          <pc:sldMasterMk cId="3959690004" sldId="2147484306"/>
        </pc:sldMasterMkLst>
        <pc:sldLayoutChg chg="setBg">
          <pc:chgData name="Pierre Cavaroc" userId="150eff99-6aed-48f0-b13c-cabd0a4b3ac2" providerId="ADAL" clId="{E623609C-0EF4-4ECB-A655-127E285B354B}" dt="2021-03-20T20:46:26.782" v="802"/>
          <pc:sldLayoutMkLst>
            <pc:docMk/>
            <pc:sldMasterMk cId="3959690004" sldId="2147484306"/>
            <pc:sldLayoutMk cId="3052048236" sldId="2147484308"/>
          </pc:sldLayoutMkLst>
        </pc:sldLayoutChg>
      </pc:sldMasterChg>
      <pc:sldMasterChg chg="modSldLayout">
        <pc:chgData name="Pierre Cavaroc" userId="150eff99-6aed-48f0-b13c-cabd0a4b3ac2" providerId="ADAL" clId="{E623609C-0EF4-4ECB-A655-127E285B354B}" dt="2021-03-20T20:46:26.782" v="802"/>
        <pc:sldMasterMkLst>
          <pc:docMk/>
          <pc:sldMasterMk cId="0" sldId="2147484360"/>
        </pc:sldMasterMkLst>
        <pc:sldLayoutChg chg="setBg">
          <pc:chgData name="Pierre Cavaroc" userId="150eff99-6aed-48f0-b13c-cabd0a4b3ac2" providerId="ADAL" clId="{E623609C-0EF4-4ECB-A655-127E285B354B}" dt="2021-03-20T20:46:26.782" v="802"/>
          <pc:sldLayoutMkLst>
            <pc:docMk/>
            <pc:sldMasterMk cId="0" sldId="2147484360"/>
            <pc:sldLayoutMk cId="4040499758" sldId="2147484361"/>
          </pc:sldLayoutMkLst>
        </pc:sldLayoutChg>
        <pc:sldLayoutChg chg="setBg">
          <pc:chgData name="Pierre Cavaroc" userId="150eff99-6aed-48f0-b13c-cabd0a4b3ac2" providerId="ADAL" clId="{E623609C-0EF4-4ECB-A655-127E285B354B}" dt="2021-03-20T20:46:26.782" v="802"/>
          <pc:sldLayoutMkLst>
            <pc:docMk/>
            <pc:sldMasterMk cId="0" sldId="2147484360"/>
            <pc:sldLayoutMk cId="0" sldId="2147484368"/>
          </pc:sldLayoutMkLst>
        </pc:sldLayoutChg>
      </pc:sldMasterChg>
      <pc:sldMasterChg chg="addSldLayout delSldLayout modSldLayout">
        <pc:chgData name="Pierre Cavaroc" userId="150eff99-6aed-48f0-b13c-cabd0a4b3ac2" providerId="ADAL" clId="{E623609C-0EF4-4ECB-A655-127E285B354B}" dt="2021-03-20T20:46:26.782" v="802"/>
        <pc:sldMasterMkLst>
          <pc:docMk/>
          <pc:sldMasterMk cId="0" sldId="2147484370"/>
        </pc:sldMasterMkLst>
        <pc:sldLayoutChg chg="add del">
          <pc:chgData name="Pierre Cavaroc" userId="150eff99-6aed-48f0-b13c-cabd0a4b3ac2" providerId="ADAL" clId="{E623609C-0EF4-4ECB-A655-127E285B354B}" dt="2021-03-10T02:49:43.342" v="121" actId="47"/>
          <pc:sldLayoutMkLst>
            <pc:docMk/>
            <pc:sldMasterMk cId="0" sldId="2147484370"/>
            <pc:sldLayoutMk cId="543788070" sldId="2147484355"/>
          </pc:sldLayoutMkLst>
        </pc:sldLayoutChg>
        <pc:sldLayoutChg chg="setBg">
          <pc:chgData name="Pierre Cavaroc" userId="150eff99-6aed-48f0-b13c-cabd0a4b3ac2" providerId="ADAL" clId="{E623609C-0EF4-4ECB-A655-127E285B354B}" dt="2021-03-20T20:46:26.782" v="802"/>
          <pc:sldLayoutMkLst>
            <pc:docMk/>
            <pc:sldMasterMk cId="0" sldId="2147484370"/>
            <pc:sldLayoutMk cId="4040499758" sldId="2147484371"/>
          </pc:sldLayoutMkLst>
        </pc:sldLayoutChg>
      </pc:sldMasterChg>
      <pc:sldMasterChg chg="modSldLayout">
        <pc:chgData name="Pierre Cavaroc" userId="150eff99-6aed-48f0-b13c-cabd0a4b3ac2" providerId="ADAL" clId="{E623609C-0EF4-4ECB-A655-127E285B354B}" dt="2021-03-20T20:46:26.782" v="802"/>
        <pc:sldMasterMkLst>
          <pc:docMk/>
          <pc:sldMasterMk cId="0" sldId="2147484374"/>
        </pc:sldMasterMkLst>
        <pc:sldLayoutChg chg="setBg">
          <pc:chgData name="Pierre Cavaroc" userId="150eff99-6aed-48f0-b13c-cabd0a4b3ac2" providerId="ADAL" clId="{E623609C-0EF4-4ECB-A655-127E285B354B}" dt="2021-03-20T20:46:26.782" v="802"/>
          <pc:sldLayoutMkLst>
            <pc:docMk/>
            <pc:sldMasterMk cId="0" sldId="2147484374"/>
            <pc:sldLayoutMk cId="4040499758" sldId="2147484375"/>
          </pc:sldLayoutMkLst>
        </pc:sldLayoutChg>
      </pc:sldMasterChg>
    </pc:docChg>
  </pc:docChgLst>
  <pc:docChgLst>
    <pc:chgData name="Pierre CAVAROC" userId="07b0716e83eb77bb" providerId="LiveId" clId="{36D1D1AA-6840-4AF8-84BF-79874729819D}"/>
    <pc:docChg chg="undo custSel modSld">
      <pc:chgData name="Pierre CAVAROC" userId="07b0716e83eb77bb" providerId="LiveId" clId="{36D1D1AA-6840-4AF8-84BF-79874729819D}" dt="2021-03-24T12:30:02.793" v="55" actId="20577"/>
      <pc:docMkLst>
        <pc:docMk/>
      </pc:docMkLst>
      <pc:sldChg chg="modNotesTx">
        <pc:chgData name="Pierre CAVAROC" userId="07b0716e83eb77bb" providerId="LiveId" clId="{36D1D1AA-6840-4AF8-84BF-79874729819D}" dt="2021-03-24T12:30:02.793" v="55" actId="20577"/>
        <pc:sldMkLst>
          <pc:docMk/>
          <pc:sldMk cId="561314200" sldId="2134803569"/>
        </pc:sldMkLst>
      </pc:sldChg>
    </pc:docChg>
  </pc:docChgLst>
  <pc:docChgLst>
    <pc:chgData name="Utilisateur invité" providerId="Windows Live" clId="Web-{468A32AF-521A-45C3-83A6-5383469A2CE7}"/>
    <pc:docChg chg="modSld">
      <pc:chgData name="Utilisateur invité" userId="" providerId="Windows Live" clId="Web-{468A32AF-521A-45C3-83A6-5383469A2CE7}" dt="2021-03-25T15:47:11.717" v="16" actId="20577"/>
      <pc:docMkLst>
        <pc:docMk/>
      </pc:docMkLst>
      <pc:sldChg chg="modSp">
        <pc:chgData name="Utilisateur invité" userId="" providerId="Windows Live" clId="Web-{468A32AF-521A-45C3-83A6-5383469A2CE7}" dt="2021-03-25T15:47:11.717" v="16" actId="20577"/>
        <pc:sldMkLst>
          <pc:docMk/>
          <pc:sldMk cId="2473026198" sldId="2134803562"/>
        </pc:sldMkLst>
        <pc:spChg chg="mod">
          <ac:chgData name="Utilisateur invité" userId="" providerId="Windows Live" clId="Web-{468A32AF-521A-45C3-83A6-5383469A2CE7}" dt="2021-03-25T15:47:11.717" v="16" actId="20577"/>
          <ac:spMkLst>
            <pc:docMk/>
            <pc:sldMk cId="2473026198" sldId="2134803562"/>
            <ac:spMk id="48" creationId="{4C11995D-593C-4E7E-9C38-FBE766FF807D}"/>
          </ac:spMkLst>
        </pc:spChg>
      </pc:sldChg>
    </pc:docChg>
  </pc:docChgLst>
  <pc:docChgLst>
    <pc:chgData name="Pierre CAVAROC" userId="07b0716e83eb77bb" providerId="LiveId" clId="{D9B816CB-AB92-4761-937A-BD8E286FDC40}"/>
    <pc:docChg chg="undo redo custSel addSld delSld modSld sldOrd modMainMaster modSection">
      <pc:chgData name="Pierre CAVAROC" userId="07b0716e83eb77bb" providerId="LiveId" clId="{D9B816CB-AB92-4761-937A-BD8E286FDC40}" dt="2021-04-01T12:39:29.267" v="3995" actId="20577"/>
      <pc:docMkLst>
        <pc:docMk/>
      </pc:docMkLst>
      <pc:sldChg chg="modNotesTx">
        <pc:chgData name="Pierre CAVAROC" userId="07b0716e83eb77bb" providerId="LiveId" clId="{D9B816CB-AB92-4761-937A-BD8E286FDC40}" dt="2021-04-01T12:39:29.267" v="3995" actId="20577"/>
        <pc:sldMkLst>
          <pc:docMk/>
          <pc:sldMk cId="66305900" sldId="2134803534"/>
        </pc:sldMkLst>
      </pc:sldChg>
      <pc:sldChg chg="addSp delSp modSp mod modAnim modNotesTx">
        <pc:chgData name="Pierre CAVAROC" userId="07b0716e83eb77bb" providerId="LiveId" clId="{D9B816CB-AB92-4761-937A-BD8E286FDC40}" dt="2021-03-31T16:13:53.546" v="3758" actId="1440"/>
        <pc:sldMkLst>
          <pc:docMk/>
          <pc:sldMk cId="2473026198" sldId="2134803562"/>
        </pc:sldMkLst>
        <pc:spChg chg="mod">
          <ac:chgData name="Pierre CAVAROC" userId="07b0716e83eb77bb" providerId="LiveId" clId="{D9B816CB-AB92-4761-937A-BD8E286FDC40}" dt="2021-03-26T01:15:52.903" v="10" actId="20577"/>
          <ac:spMkLst>
            <pc:docMk/>
            <pc:sldMk cId="2473026198" sldId="2134803562"/>
            <ac:spMk id="4" creationId="{6065C074-C545-42B7-8049-2A571A05E4B9}"/>
          </ac:spMkLst>
        </pc:spChg>
        <pc:spChg chg="mod topLvl">
          <ac:chgData name="Pierre CAVAROC" userId="07b0716e83eb77bb" providerId="LiveId" clId="{D9B816CB-AB92-4761-937A-BD8E286FDC40}" dt="2021-03-31T11:57:07.229" v="3525" actId="164"/>
          <ac:spMkLst>
            <pc:docMk/>
            <pc:sldMk cId="2473026198" sldId="2134803562"/>
            <ac:spMk id="12" creationId="{563828B4-1ECC-40A3-87B8-80678C90DA77}"/>
          </ac:spMkLst>
        </pc:spChg>
        <pc:spChg chg="mod topLvl">
          <ac:chgData name="Pierre CAVAROC" userId="07b0716e83eb77bb" providerId="LiveId" clId="{D9B816CB-AB92-4761-937A-BD8E286FDC40}" dt="2021-03-31T11:57:13.412" v="3526" actId="164"/>
          <ac:spMkLst>
            <pc:docMk/>
            <pc:sldMk cId="2473026198" sldId="2134803562"/>
            <ac:spMk id="14" creationId="{F2812A1F-F3EB-4D42-A2A3-3B350B070FDB}"/>
          </ac:spMkLst>
        </pc:spChg>
        <pc:spChg chg="mod">
          <ac:chgData name="Pierre CAVAROC" userId="07b0716e83eb77bb" providerId="LiveId" clId="{D9B816CB-AB92-4761-937A-BD8E286FDC40}" dt="2021-03-26T13:52:11.800" v="1529" actId="1076"/>
          <ac:spMkLst>
            <pc:docMk/>
            <pc:sldMk cId="2473026198" sldId="2134803562"/>
            <ac:spMk id="18" creationId="{3916CDD4-4273-4219-9D25-6377AC801932}"/>
          </ac:spMkLst>
        </pc:spChg>
        <pc:grpChg chg="add mod">
          <ac:chgData name="Pierre CAVAROC" userId="07b0716e83eb77bb" providerId="LiveId" clId="{D9B816CB-AB92-4761-937A-BD8E286FDC40}" dt="2021-03-31T12:00:46.409" v="3537" actId="1076"/>
          <ac:grpSpMkLst>
            <pc:docMk/>
            <pc:sldMk cId="2473026198" sldId="2134803562"/>
            <ac:grpSpMk id="2" creationId="{0DA3CEDA-C7F1-48E2-95FD-1C4462E6C965}"/>
          </ac:grpSpMkLst>
        </pc:grpChg>
        <pc:grpChg chg="add mod">
          <ac:chgData name="Pierre CAVAROC" userId="07b0716e83eb77bb" providerId="LiveId" clId="{D9B816CB-AB92-4761-937A-BD8E286FDC40}" dt="2021-03-31T12:00:38.733" v="3536" actId="1076"/>
          <ac:grpSpMkLst>
            <pc:docMk/>
            <pc:sldMk cId="2473026198" sldId="2134803562"/>
            <ac:grpSpMk id="6" creationId="{2B74E2A1-FF95-4CB7-A2DE-DC485875B34A}"/>
          </ac:grpSpMkLst>
        </pc:grpChg>
        <pc:grpChg chg="del">
          <ac:chgData name="Pierre CAVAROC" userId="07b0716e83eb77bb" providerId="LiveId" clId="{D9B816CB-AB92-4761-937A-BD8E286FDC40}" dt="2021-03-31T11:55:18.424" v="3506" actId="165"/>
          <ac:grpSpMkLst>
            <pc:docMk/>
            <pc:sldMk cId="2473026198" sldId="2134803562"/>
            <ac:grpSpMk id="13" creationId="{EBDC4E52-44C0-4DAC-ACBC-82516030708A}"/>
          </ac:grpSpMkLst>
        </pc:grpChg>
        <pc:grpChg chg="del mod">
          <ac:chgData name="Pierre CAVAROC" userId="07b0716e83eb77bb" providerId="LiveId" clId="{D9B816CB-AB92-4761-937A-BD8E286FDC40}" dt="2021-03-31T11:54:51.407" v="3502" actId="165"/>
          <ac:grpSpMkLst>
            <pc:docMk/>
            <pc:sldMk cId="2473026198" sldId="2134803562"/>
            <ac:grpSpMk id="15" creationId="{AE87B602-22BA-492E-BC64-DD565B4588DA}"/>
          </ac:grpSpMkLst>
        </pc:grpChg>
        <pc:picChg chg="del mod">
          <ac:chgData name="Pierre CAVAROC" userId="07b0716e83eb77bb" providerId="LiveId" clId="{D9B816CB-AB92-4761-937A-BD8E286FDC40}" dt="2021-03-31T14:57:31.302" v="3742" actId="478"/>
          <ac:picMkLst>
            <pc:docMk/>
            <pc:sldMk cId="2473026198" sldId="2134803562"/>
            <ac:picMk id="5" creationId="{2B83202A-A9BB-450F-A993-FC3A934D8C38}"/>
          </ac:picMkLst>
        </pc:picChg>
        <pc:picChg chg="mod topLvl modCrop">
          <ac:chgData name="Pierre CAVAROC" userId="07b0716e83eb77bb" providerId="LiveId" clId="{D9B816CB-AB92-4761-937A-BD8E286FDC40}" dt="2021-03-31T11:57:13.412" v="3526" actId="164"/>
          <ac:picMkLst>
            <pc:docMk/>
            <pc:sldMk cId="2473026198" sldId="2134803562"/>
            <ac:picMk id="8" creationId="{EF6854E9-E3C6-44B7-A87D-8070E56750E9}"/>
          </ac:picMkLst>
        </pc:picChg>
        <pc:picChg chg="add mod modCrop">
          <ac:chgData name="Pierre CAVAROC" userId="07b0716e83eb77bb" providerId="LiveId" clId="{D9B816CB-AB92-4761-937A-BD8E286FDC40}" dt="2021-03-31T16:13:53.546" v="3758" actId="1440"/>
          <ac:picMkLst>
            <pc:docMk/>
            <pc:sldMk cId="2473026198" sldId="2134803562"/>
            <ac:picMk id="9" creationId="{117E4730-7826-4E7B-A134-4F8410996A3F}"/>
          </ac:picMkLst>
        </pc:picChg>
        <pc:picChg chg="mod topLvl">
          <ac:chgData name="Pierre CAVAROC" userId="07b0716e83eb77bb" providerId="LiveId" clId="{D9B816CB-AB92-4761-937A-BD8E286FDC40}" dt="2021-03-31T11:57:07.229" v="3525" actId="164"/>
          <ac:picMkLst>
            <pc:docMk/>
            <pc:sldMk cId="2473026198" sldId="2134803562"/>
            <ac:picMk id="10" creationId="{0550B1EC-739A-46FA-A114-3A6D504779A8}"/>
          </ac:picMkLst>
        </pc:picChg>
      </pc:sldChg>
      <pc:sldChg chg="modNotesTx">
        <pc:chgData name="Pierre CAVAROC" userId="07b0716e83eb77bb" providerId="LiveId" clId="{D9B816CB-AB92-4761-937A-BD8E286FDC40}" dt="2021-03-29T20:36:00.769" v="3053" actId="20577"/>
        <pc:sldMkLst>
          <pc:docMk/>
          <pc:sldMk cId="2134518439" sldId="2134803563"/>
        </pc:sldMkLst>
      </pc:sldChg>
      <pc:sldChg chg="modNotesTx">
        <pc:chgData name="Pierre CAVAROC" userId="07b0716e83eb77bb" providerId="LiveId" clId="{D9B816CB-AB92-4761-937A-BD8E286FDC40}" dt="2021-03-31T12:08:02.963" v="3669" actId="113"/>
        <pc:sldMkLst>
          <pc:docMk/>
          <pc:sldMk cId="3777336187" sldId="2134803564"/>
        </pc:sldMkLst>
      </pc:sldChg>
      <pc:sldChg chg="modSp mod modNotesTx">
        <pc:chgData name="Pierre CAVAROC" userId="07b0716e83eb77bb" providerId="LiveId" clId="{D9B816CB-AB92-4761-937A-BD8E286FDC40}" dt="2021-03-31T21:23:43.072" v="3760" actId="113"/>
        <pc:sldMkLst>
          <pc:docMk/>
          <pc:sldMk cId="2813419158" sldId="2134803565"/>
        </pc:sldMkLst>
        <pc:spChg chg="mod">
          <ac:chgData name="Pierre CAVAROC" userId="07b0716e83eb77bb" providerId="LiveId" clId="{D9B816CB-AB92-4761-937A-BD8E286FDC40}" dt="2021-03-30T00:09:57.374" v="3230" actId="1076"/>
          <ac:spMkLst>
            <pc:docMk/>
            <pc:sldMk cId="2813419158" sldId="2134803565"/>
            <ac:spMk id="5" creationId="{BCCBF61D-77C2-42EC-B3EE-009CC62AF4E6}"/>
          </ac:spMkLst>
        </pc:spChg>
        <pc:spChg chg="mod">
          <ac:chgData name="Pierre CAVAROC" userId="07b0716e83eb77bb" providerId="LiveId" clId="{D9B816CB-AB92-4761-937A-BD8E286FDC40}" dt="2021-03-30T00:10:01.715" v="3231" actId="1076"/>
          <ac:spMkLst>
            <pc:docMk/>
            <pc:sldMk cId="2813419158" sldId="2134803565"/>
            <ac:spMk id="12" creationId="{751817DE-8AB8-4C84-9E00-CFEE0B03A3A0}"/>
          </ac:spMkLst>
        </pc:spChg>
        <pc:spChg chg="mod">
          <ac:chgData name="Pierre CAVAROC" userId="07b0716e83eb77bb" providerId="LiveId" clId="{D9B816CB-AB92-4761-937A-BD8E286FDC40}" dt="2021-03-30T00:10:07.282" v="3232" actId="1076"/>
          <ac:spMkLst>
            <pc:docMk/>
            <pc:sldMk cId="2813419158" sldId="2134803565"/>
            <ac:spMk id="13" creationId="{0C5B20E6-C000-4F14-A786-C77B6B745340}"/>
          </ac:spMkLst>
        </pc:spChg>
      </pc:sldChg>
      <pc:sldChg chg="modNotesTx">
        <pc:chgData name="Pierre CAVAROC" userId="07b0716e83eb77bb" providerId="LiveId" clId="{D9B816CB-AB92-4761-937A-BD8E286FDC40}" dt="2021-03-26T13:18:43.322" v="877" actId="20577"/>
        <pc:sldMkLst>
          <pc:docMk/>
          <pc:sldMk cId="1090714715" sldId="2134803566"/>
        </pc:sldMkLst>
      </pc:sldChg>
      <pc:sldChg chg="modAnim modNotesTx">
        <pc:chgData name="Pierre CAVAROC" userId="07b0716e83eb77bb" providerId="LiveId" clId="{D9B816CB-AB92-4761-937A-BD8E286FDC40}" dt="2021-03-31T00:45:35.480" v="3491"/>
        <pc:sldMkLst>
          <pc:docMk/>
          <pc:sldMk cId="3651244346" sldId="2134803568"/>
        </pc:sldMkLst>
      </pc:sldChg>
      <pc:sldChg chg="modNotesTx">
        <pc:chgData name="Pierre CAVAROC" userId="07b0716e83eb77bb" providerId="LiveId" clId="{D9B816CB-AB92-4761-937A-BD8E286FDC40}" dt="2021-04-01T12:38:13.587" v="3994" actId="20577"/>
        <pc:sldMkLst>
          <pc:docMk/>
          <pc:sldMk cId="561314200" sldId="2134803569"/>
        </pc:sldMkLst>
      </pc:sldChg>
      <pc:sldChg chg="modNotesTx">
        <pc:chgData name="Pierre CAVAROC" userId="07b0716e83eb77bb" providerId="LiveId" clId="{D9B816CB-AB92-4761-937A-BD8E286FDC40}" dt="2021-03-26T01:19:55.279" v="27" actId="20577"/>
        <pc:sldMkLst>
          <pc:docMk/>
          <pc:sldMk cId="3802330194" sldId="2134803570"/>
        </pc:sldMkLst>
      </pc:sldChg>
      <pc:sldChg chg="modSp mod modNotesTx">
        <pc:chgData name="Pierre CAVAROC" userId="07b0716e83eb77bb" providerId="LiveId" clId="{D9B816CB-AB92-4761-937A-BD8E286FDC40}" dt="2021-03-30T00:46:03.255" v="3298" actId="20577"/>
        <pc:sldMkLst>
          <pc:docMk/>
          <pc:sldMk cId="3965520164" sldId="2134803573"/>
        </pc:sldMkLst>
        <pc:spChg chg="mod">
          <ac:chgData name="Pierre CAVAROC" userId="07b0716e83eb77bb" providerId="LiveId" clId="{D9B816CB-AB92-4761-937A-BD8E286FDC40}" dt="2021-03-26T13:40:03.495" v="1490" actId="20577"/>
          <ac:spMkLst>
            <pc:docMk/>
            <pc:sldMk cId="3965520164" sldId="2134803573"/>
            <ac:spMk id="6" creationId="{96279A4E-BE64-4006-95DC-96FFA59AD64C}"/>
          </ac:spMkLst>
        </pc:spChg>
      </pc:sldChg>
      <pc:sldChg chg="modNotesTx">
        <pc:chgData name="Pierre CAVAROC" userId="07b0716e83eb77bb" providerId="LiveId" clId="{D9B816CB-AB92-4761-937A-BD8E286FDC40}" dt="2021-03-26T13:46:22.296" v="1526" actId="20577"/>
        <pc:sldMkLst>
          <pc:docMk/>
          <pc:sldMk cId="726576754" sldId="2134803574"/>
        </pc:sldMkLst>
      </pc:sldChg>
      <pc:sldChg chg="modSp mod modNotesTx">
        <pc:chgData name="Pierre CAVAROC" userId="07b0716e83eb77bb" providerId="LiveId" clId="{D9B816CB-AB92-4761-937A-BD8E286FDC40}" dt="2021-03-30T14:07:19.018" v="3364" actId="1076"/>
        <pc:sldMkLst>
          <pc:docMk/>
          <pc:sldMk cId="2546688106" sldId="2134803578"/>
        </pc:sldMkLst>
        <pc:spChg chg="mod">
          <ac:chgData name="Pierre CAVAROC" userId="07b0716e83eb77bb" providerId="LiveId" clId="{D9B816CB-AB92-4761-937A-BD8E286FDC40}" dt="2021-03-30T14:07:19.018" v="3364" actId="1076"/>
          <ac:spMkLst>
            <pc:docMk/>
            <pc:sldMk cId="2546688106" sldId="2134803578"/>
            <ac:spMk id="6" creationId="{96279A4E-BE64-4006-95DC-96FFA59AD64C}"/>
          </ac:spMkLst>
        </pc:spChg>
      </pc:sldChg>
      <pc:sldChg chg="modSp mod modNotesTx">
        <pc:chgData name="Pierre CAVAROC" userId="07b0716e83eb77bb" providerId="LiveId" clId="{D9B816CB-AB92-4761-937A-BD8E286FDC40}" dt="2021-03-26T13:45:58.853" v="1517" actId="114"/>
        <pc:sldMkLst>
          <pc:docMk/>
          <pc:sldMk cId="2225764790" sldId="2134803579"/>
        </pc:sldMkLst>
        <pc:spChg chg="mod">
          <ac:chgData name="Pierre CAVAROC" userId="07b0716e83eb77bb" providerId="LiveId" clId="{D9B816CB-AB92-4761-937A-BD8E286FDC40}" dt="2021-03-26T01:21:14.386" v="32" actId="1035"/>
          <ac:spMkLst>
            <pc:docMk/>
            <pc:sldMk cId="2225764790" sldId="2134803579"/>
            <ac:spMk id="16" creationId="{F799A530-2387-4C26-B019-45D17BFDCFD1}"/>
          </ac:spMkLst>
        </pc:spChg>
        <pc:picChg chg="mod">
          <ac:chgData name="Pierre CAVAROC" userId="07b0716e83eb77bb" providerId="LiveId" clId="{D9B816CB-AB92-4761-937A-BD8E286FDC40}" dt="2021-03-26T01:21:14.386" v="32" actId="1035"/>
          <ac:picMkLst>
            <pc:docMk/>
            <pc:sldMk cId="2225764790" sldId="2134803579"/>
            <ac:picMk id="10" creationId="{0D024259-D107-4E82-9728-67145D2D609D}"/>
          </ac:picMkLst>
        </pc:picChg>
        <pc:picChg chg="mod">
          <ac:chgData name="Pierre CAVAROC" userId="07b0716e83eb77bb" providerId="LiveId" clId="{D9B816CB-AB92-4761-937A-BD8E286FDC40}" dt="2021-03-26T01:21:14.386" v="32" actId="1035"/>
          <ac:picMkLst>
            <pc:docMk/>
            <pc:sldMk cId="2225764790" sldId="2134803579"/>
            <ac:picMk id="12" creationId="{1C27CC35-7929-4C56-8FEF-6E8478AAFDB8}"/>
          </ac:picMkLst>
        </pc:picChg>
        <pc:picChg chg="mod">
          <ac:chgData name="Pierre CAVAROC" userId="07b0716e83eb77bb" providerId="LiveId" clId="{D9B816CB-AB92-4761-937A-BD8E286FDC40}" dt="2021-03-26T01:21:14.386" v="32" actId="1035"/>
          <ac:picMkLst>
            <pc:docMk/>
            <pc:sldMk cId="2225764790" sldId="2134803579"/>
            <ac:picMk id="14" creationId="{540D2672-EBDB-43EC-A711-84C0EB4BB15C}"/>
          </ac:picMkLst>
        </pc:picChg>
      </pc:sldChg>
      <pc:sldChg chg="modNotesTx">
        <pc:chgData name="Pierre CAVAROC" userId="07b0716e83eb77bb" providerId="LiveId" clId="{D9B816CB-AB92-4761-937A-BD8E286FDC40}" dt="2021-04-01T12:37:21.773" v="3992" actId="20577"/>
        <pc:sldMkLst>
          <pc:docMk/>
          <pc:sldMk cId="2136510916" sldId="2134803580"/>
        </pc:sldMkLst>
      </pc:sldChg>
      <pc:sldChg chg="modSp add mod ord">
        <pc:chgData name="Pierre CAVAROC" userId="07b0716e83eb77bb" providerId="LiveId" clId="{D9B816CB-AB92-4761-937A-BD8E286FDC40}" dt="2021-03-30T00:22:57.249" v="3295" actId="20577"/>
        <pc:sldMkLst>
          <pc:docMk/>
          <pc:sldMk cId="376389182" sldId="2134803582"/>
        </pc:sldMkLst>
        <pc:spChg chg="mod">
          <ac:chgData name="Pierre CAVAROC" userId="07b0716e83eb77bb" providerId="LiveId" clId="{D9B816CB-AB92-4761-937A-BD8E286FDC40}" dt="2021-03-30T00:22:57.249" v="3295" actId="20577"/>
          <ac:spMkLst>
            <pc:docMk/>
            <pc:sldMk cId="376389182" sldId="2134803582"/>
            <ac:spMk id="6" creationId="{D037EEB5-6036-41AA-855E-326A8E292CAE}"/>
          </ac:spMkLst>
        </pc:spChg>
      </pc:sldChg>
      <pc:sldChg chg="add del ord">
        <pc:chgData name="Pierre CAVAROC" userId="07b0716e83eb77bb" providerId="LiveId" clId="{D9B816CB-AB92-4761-937A-BD8E286FDC40}" dt="2021-03-30T00:22:44.015" v="3277" actId="2890"/>
        <pc:sldMkLst>
          <pc:docMk/>
          <pc:sldMk cId="3867734087" sldId="2134803582"/>
        </pc:sldMkLst>
      </pc:sldChg>
      <pc:sldMasterChg chg="modSldLayout">
        <pc:chgData name="Pierre CAVAROC" userId="07b0716e83eb77bb" providerId="LiveId" clId="{D9B816CB-AB92-4761-937A-BD8E286FDC40}" dt="2021-03-26T13:20:32.353" v="887" actId="12789"/>
        <pc:sldMasterMkLst>
          <pc:docMk/>
          <pc:sldMasterMk cId="0" sldId="2147483660"/>
        </pc:sldMasterMkLst>
        <pc:sldLayoutChg chg="modSp mod">
          <pc:chgData name="Pierre CAVAROC" userId="07b0716e83eb77bb" providerId="LiveId" clId="{D9B816CB-AB92-4761-937A-BD8E286FDC40}" dt="2021-03-26T13:20:32.353" v="887" actId="12789"/>
          <pc:sldLayoutMkLst>
            <pc:docMk/>
            <pc:sldMasterMk cId="0" sldId="2147483660"/>
            <pc:sldLayoutMk cId="4040499758" sldId="2147484019"/>
          </pc:sldLayoutMkLst>
          <pc:spChg chg="mod">
            <ac:chgData name="Pierre CAVAROC" userId="07b0716e83eb77bb" providerId="LiveId" clId="{D9B816CB-AB92-4761-937A-BD8E286FDC40}" dt="2021-03-26T13:20:32.353" v="887" actId="12789"/>
            <ac:spMkLst>
              <pc:docMk/>
              <pc:sldMasterMk cId="0" sldId="2147483660"/>
              <pc:sldLayoutMk cId="4040499758" sldId="2147484019"/>
              <ac:spMk id="13" creationId="{DFB25F9C-7D34-4E31-87EA-0E0C68D9D432}"/>
            </ac:spMkLst>
          </pc:spChg>
        </pc:sldLayoutChg>
      </pc:sldMaster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>
            <a:extLst>
              <a:ext uri="{FF2B5EF4-FFF2-40B4-BE49-F238E27FC236}">
                <a16:creationId xmlns:a16="http://schemas.microsoft.com/office/drawing/2014/main" id="{2CB1263A-AF19-FD44-82CC-24C49929359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 dirty="0"/>
          </a:p>
        </p:txBody>
      </p:sp>
      <p:sp>
        <p:nvSpPr>
          <p:cNvPr id="3" name="Espace réservé de la date 2">
            <a:extLst>
              <a:ext uri="{FF2B5EF4-FFF2-40B4-BE49-F238E27FC236}">
                <a16:creationId xmlns:a16="http://schemas.microsoft.com/office/drawing/2014/main" id="{442C4314-1A22-A143-94C3-4554EE5BC3B2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970338" y="0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0EDB0BD-6405-F543-856C-0DE5FCB6E74A}" type="datetimeFigureOut">
              <a:rPr lang="fr-FR"/>
              <a:t>31/03/2021</a:t>
            </a:fld>
            <a:endParaRPr lang="fr-FR" dirty="0"/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8289BDC4-3E2B-C145-A18E-B1533569E8A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829675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 dirty="0"/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5900F436-9788-8246-862B-6B93E549782A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970338" y="8829675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89C5E0E-097E-B44E-AFCA-0C2CDD114C9A}" type="slidenum">
              <a:rPr/>
              <a:t>‹#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51391625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1" cy="464598"/>
          </a:xfrm>
          <a:prstGeom prst="rect">
            <a:avLst/>
          </a:prstGeom>
        </p:spPr>
        <p:txBody>
          <a:bodyPr vert="horz" lIns="96653" tIns="48327" rIns="96653" bIns="48327" rtlCol="0"/>
          <a:lstStyle>
            <a:lvl1pPr algn="l" defTabSz="1219118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fr-CA" dirty="0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970926" y="0"/>
            <a:ext cx="3037841" cy="464598"/>
          </a:xfrm>
          <a:prstGeom prst="rect">
            <a:avLst/>
          </a:prstGeom>
        </p:spPr>
        <p:txBody>
          <a:bodyPr vert="horz" lIns="96653" tIns="48327" rIns="96653" bIns="48327" rtlCol="0"/>
          <a:lstStyle>
            <a:lvl1pPr algn="r" defTabSz="1219118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fld id="{69BF9434-E0C7-4ADC-A880-645B76953E70}" type="datetimeFigureOut">
              <a:rPr lang="fr-CA"/>
              <a:pPr>
                <a:defRPr/>
              </a:pPr>
              <a:t>2021-03-31</a:t>
            </a:fld>
            <a:endParaRPr lang="fr-CA" dirty="0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406400" y="696913"/>
            <a:ext cx="6197600" cy="34861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6653" tIns="48327" rIns="96653" bIns="48327" rtlCol="0" anchor="ctr"/>
          <a:lstStyle/>
          <a:p>
            <a:pPr lvl="0"/>
            <a:endParaRPr lang="fr-CA" noProof="0" dirty="0"/>
          </a:p>
        </p:txBody>
      </p:sp>
      <p:sp>
        <p:nvSpPr>
          <p:cNvPr id="5" name="Espace réservé des commentaires 4"/>
          <p:cNvSpPr>
            <a:spLocks noGrp="1"/>
          </p:cNvSpPr>
          <p:nvPr>
            <p:ph type="body" sz="quarter" idx="3"/>
          </p:nvPr>
        </p:nvSpPr>
        <p:spPr>
          <a:xfrm>
            <a:off x="701041" y="4415902"/>
            <a:ext cx="5608320" cy="4182860"/>
          </a:xfrm>
          <a:prstGeom prst="rect">
            <a:avLst/>
          </a:prstGeom>
        </p:spPr>
        <p:txBody>
          <a:bodyPr vert="horz" lIns="96653" tIns="48327" rIns="96653" bIns="48327" rtlCol="0"/>
          <a:lstStyle/>
          <a:p>
            <a:pPr lvl="0"/>
            <a:r>
              <a:rPr lang="fr-FR" noProof="0"/>
              <a:t>Modifiez les styles du texte du masque</a:t>
            </a:r>
          </a:p>
          <a:p>
            <a:pPr lvl="1"/>
            <a:r>
              <a:rPr lang="fr-FR" noProof="0"/>
              <a:t>Deuxième niveau</a:t>
            </a:r>
          </a:p>
          <a:p>
            <a:pPr lvl="2"/>
            <a:r>
              <a:rPr lang="fr-FR" noProof="0"/>
              <a:t>Troisième niveau</a:t>
            </a:r>
          </a:p>
          <a:p>
            <a:pPr lvl="3"/>
            <a:r>
              <a:rPr lang="fr-FR" noProof="0"/>
              <a:t>Quatrième niveau</a:t>
            </a:r>
          </a:p>
          <a:p>
            <a:pPr lvl="4"/>
            <a:r>
              <a:rPr lang="fr-FR" noProof="0"/>
              <a:t>Cinquième niveau</a:t>
            </a:r>
            <a:endParaRPr lang="fr-CA" noProof="0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8830319"/>
            <a:ext cx="3037841" cy="464597"/>
          </a:xfrm>
          <a:prstGeom prst="rect">
            <a:avLst/>
          </a:prstGeom>
        </p:spPr>
        <p:txBody>
          <a:bodyPr vert="horz" lIns="96653" tIns="48327" rIns="96653" bIns="48327" rtlCol="0" anchor="b"/>
          <a:lstStyle>
            <a:lvl1pPr algn="l" defTabSz="1219118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fr-CA" dirty="0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970926" y="8830319"/>
            <a:ext cx="3037841" cy="464597"/>
          </a:xfrm>
          <a:prstGeom prst="rect">
            <a:avLst/>
          </a:prstGeom>
        </p:spPr>
        <p:txBody>
          <a:bodyPr vert="horz" wrap="square" lIns="96653" tIns="48327" rIns="96653" bIns="48327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1200" smtClean="0"/>
            </a:lvl1pPr>
          </a:lstStyle>
          <a:p>
            <a:pPr>
              <a:defRPr/>
            </a:pPr>
            <a:fld id="{167D0252-6604-46CB-B631-B7027F3046C2}" type="slidenum">
              <a:rPr lang="fr-CA" altLang="fr-FR"/>
              <a:pPr>
                <a:defRPr/>
              </a:pPr>
              <a:t>‹#›</a:t>
            </a:fld>
            <a:endParaRPr lang="fr-CA" altLang="fr-FR" dirty="0"/>
          </a:p>
        </p:txBody>
      </p:sp>
    </p:spTree>
    <p:extLst>
      <p:ext uri="{BB962C8B-B14F-4D97-AF65-F5344CB8AC3E}">
        <p14:creationId xmlns:p14="http://schemas.microsoft.com/office/powerpoint/2010/main" val="1071497978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defTabSz="1217531" rtl="0" eaLnBrk="0" fontAlgn="base" hangingPunct="0">
      <a:spcBef>
        <a:spcPct val="30000"/>
      </a:spcBef>
      <a:spcAft>
        <a:spcPct val="0"/>
      </a:spcAft>
      <a:defRPr sz="1600" kern="1200">
        <a:solidFill>
          <a:schemeClr val="tx1"/>
        </a:solidFill>
        <a:latin typeface="+mn-lt"/>
        <a:ea typeface="+mn-ea"/>
        <a:cs typeface="+mn-cs"/>
      </a:defRPr>
    </a:lvl1pPr>
    <a:lvl2pPr marL="607972" algn="l" defTabSz="1217531" rtl="0" eaLnBrk="0" fontAlgn="base" hangingPunct="0">
      <a:spcBef>
        <a:spcPct val="30000"/>
      </a:spcBef>
      <a:spcAft>
        <a:spcPct val="0"/>
      </a:spcAft>
      <a:defRPr sz="1600" kern="1200">
        <a:solidFill>
          <a:schemeClr val="tx1"/>
        </a:solidFill>
        <a:latin typeface="+mn-lt"/>
        <a:ea typeface="+mn-ea"/>
        <a:cs typeface="+mn-cs"/>
      </a:defRPr>
    </a:lvl2pPr>
    <a:lvl3pPr marL="1217531" algn="l" defTabSz="1217531" rtl="0" eaLnBrk="0" fontAlgn="base" hangingPunct="0">
      <a:spcBef>
        <a:spcPct val="30000"/>
      </a:spcBef>
      <a:spcAft>
        <a:spcPct val="0"/>
      </a:spcAft>
      <a:defRPr sz="1600" kern="1200">
        <a:solidFill>
          <a:schemeClr val="tx1"/>
        </a:solidFill>
        <a:latin typeface="+mn-lt"/>
        <a:ea typeface="+mn-ea"/>
        <a:cs typeface="+mn-cs"/>
      </a:defRPr>
    </a:lvl3pPr>
    <a:lvl4pPr marL="1827091" algn="l" defTabSz="1217531" rtl="0" eaLnBrk="0" fontAlgn="base" hangingPunct="0">
      <a:spcBef>
        <a:spcPct val="30000"/>
      </a:spcBef>
      <a:spcAft>
        <a:spcPct val="0"/>
      </a:spcAft>
      <a:defRPr sz="1600" kern="1200">
        <a:solidFill>
          <a:schemeClr val="tx1"/>
        </a:solidFill>
        <a:latin typeface="+mn-lt"/>
        <a:ea typeface="+mn-ea"/>
        <a:cs typeface="+mn-cs"/>
      </a:defRPr>
    </a:lvl4pPr>
    <a:lvl5pPr marL="2436650" algn="l" defTabSz="1217531" rtl="0" eaLnBrk="0" fontAlgn="base" hangingPunct="0">
      <a:spcBef>
        <a:spcPct val="30000"/>
      </a:spcBef>
      <a:spcAft>
        <a:spcPct val="0"/>
      </a:spcAft>
      <a:defRPr sz="1600" kern="1200">
        <a:solidFill>
          <a:schemeClr val="tx1"/>
        </a:solidFill>
        <a:latin typeface="+mn-lt"/>
        <a:ea typeface="+mn-ea"/>
        <a:cs typeface="+mn-cs"/>
      </a:defRPr>
    </a:lvl5pPr>
    <a:lvl6pPr marL="3047592" algn="l" defTabSz="1219037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6pPr>
    <a:lvl7pPr marL="3657111" algn="l" defTabSz="1219037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7pPr>
    <a:lvl8pPr marL="4266630" algn="l" defTabSz="1219037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8pPr>
    <a:lvl9pPr marL="4876148" algn="l" defTabSz="1219037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C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167D0252-6604-46CB-B631-B7027F3046C2}" type="slidenum">
              <a:rPr lang="fr-CA" altLang="fr-FR" smtClean="0"/>
              <a:pPr>
                <a:defRPr/>
              </a:pPr>
              <a:t>1</a:t>
            </a:fld>
            <a:endParaRPr lang="fr-CA" altLang="fr-FR" dirty="0"/>
          </a:p>
        </p:txBody>
      </p:sp>
    </p:spTree>
    <p:extLst>
      <p:ext uri="{BB962C8B-B14F-4D97-AF65-F5344CB8AC3E}">
        <p14:creationId xmlns:p14="http://schemas.microsoft.com/office/powerpoint/2010/main" val="841909518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CA" dirty="0" err="1"/>
              <a:t>Maintenant</a:t>
            </a:r>
            <a:r>
              <a:rPr lang="en-CA" dirty="0"/>
              <a:t> que nous </a:t>
            </a:r>
            <a:r>
              <a:rPr lang="en-CA" dirty="0" err="1"/>
              <a:t>avons</a:t>
            </a:r>
            <a:r>
              <a:rPr lang="en-CA" dirty="0"/>
              <a:t> vu les bases, je ne </a:t>
            </a:r>
            <a:r>
              <a:rPr lang="en-CA" dirty="0" err="1"/>
              <a:t>vais</a:t>
            </a:r>
            <a:r>
              <a:rPr lang="en-CA" dirty="0"/>
              <a:t> pas </a:t>
            </a:r>
            <a:r>
              <a:rPr lang="en-CA" dirty="0" err="1"/>
              <a:t>vous</a:t>
            </a:r>
            <a:r>
              <a:rPr lang="en-CA" dirty="0"/>
              <a:t> faire un </a:t>
            </a:r>
            <a:r>
              <a:rPr lang="en-CA" dirty="0" err="1"/>
              <a:t>cours</a:t>
            </a:r>
            <a:r>
              <a:rPr lang="en-CA" dirty="0"/>
              <a:t> magistral sur les scripts Terraform,</a:t>
            </a:r>
          </a:p>
          <a:p>
            <a:r>
              <a:rPr lang="en-CA" dirty="0"/>
              <a:t>Nous </a:t>
            </a:r>
            <a:r>
              <a:rPr lang="en-CA" dirty="0" err="1"/>
              <a:t>allons</a:t>
            </a:r>
            <a:r>
              <a:rPr lang="en-CA" dirty="0"/>
              <a:t> </a:t>
            </a:r>
            <a:r>
              <a:rPr lang="en-CA" dirty="0" err="1"/>
              <a:t>plut</a:t>
            </a:r>
            <a:r>
              <a:rPr lang="fr-CA" dirty="0" err="1"/>
              <a:t>ôt</a:t>
            </a:r>
            <a:r>
              <a:rPr lang="fr-CA" dirty="0"/>
              <a:t> </a:t>
            </a:r>
            <a:r>
              <a:rPr lang="en-CA" dirty="0" err="1"/>
              <a:t>en</a:t>
            </a:r>
            <a:r>
              <a:rPr lang="en-CA" dirty="0"/>
              <a:t> faire un ensemble.</a:t>
            </a:r>
            <a:endParaRPr lang="fr-C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167D0252-6604-46CB-B631-B7027F3046C2}" type="slidenum">
              <a:rPr lang="fr-CA" altLang="fr-FR" smtClean="0"/>
              <a:pPr>
                <a:defRPr/>
              </a:pPr>
              <a:t>13</a:t>
            </a:fld>
            <a:endParaRPr lang="fr-CA" altLang="fr-FR" dirty="0"/>
          </a:p>
        </p:txBody>
      </p:sp>
    </p:spTree>
    <p:extLst>
      <p:ext uri="{BB962C8B-B14F-4D97-AF65-F5344CB8AC3E}">
        <p14:creationId xmlns:p14="http://schemas.microsoft.com/office/powerpoint/2010/main" val="3856897924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C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167D0252-6604-46CB-B631-B7027F3046C2}" type="slidenum">
              <a:rPr lang="fr-CA" altLang="fr-FR" smtClean="0"/>
              <a:pPr>
                <a:defRPr/>
              </a:pPr>
              <a:t>14</a:t>
            </a:fld>
            <a:endParaRPr lang="fr-CA" altLang="fr-FR" dirty="0"/>
          </a:p>
        </p:txBody>
      </p:sp>
    </p:spTree>
    <p:extLst>
      <p:ext uri="{BB962C8B-B14F-4D97-AF65-F5344CB8AC3E}">
        <p14:creationId xmlns:p14="http://schemas.microsoft.com/office/powerpoint/2010/main" val="1594714786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C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167D0252-6604-46CB-B631-B7027F3046C2}" type="slidenum">
              <a:rPr lang="fr-CA" altLang="fr-FR" smtClean="0"/>
              <a:pPr>
                <a:defRPr/>
              </a:pPr>
              <a:t>15</a:t>
            </a:fld>
            <a:endParaRPr lang="fr-CA" altLang="fr-FR" dirty="0"/>
          </a:p>
        </p:txBody>
      </p:sp>
    </p:spTree>
    <p:extLst>
      <p:ext uri="{BB962C8B-B14F-4D97-AF65-F5344CB8AC3E}">
        <p14:creationId xmlns:p14="http://schemas.microsoft.com/office/powerpoint/2010/main" val="3315853932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noProof="0" dirty="0"/>
              <a:t>Nous venons de voir beaucoup de choses donc voici les informations importantes à retenir :</a:t>
            </a:r>
          </a:p>
          <a:p>
            <a:endParaRPr lang="fr-FR" noProof="0" dirty="0"/>
          </a:p>
          <a:p>
            <a:r>
              <a:rPr lang="fr-FR" noProof="0" dirty="0"/>
              <a:t>Le backend sert à stocker les états des infrastructures en gestion</a:t>
            </a:r>
          </a:p>
          <a:p>
            <a:endParaRPr lang="fr-FR" noProof="0" dirty="0"/>
          </a:p>
          <a:p>
            <a:r>
              <a:rPr lang="fr-FR" noProof="0" dirty="0"/>
              <a:t>Les providers permettent de configurer les accès</a:t>
            </a:r>
          </a:p>
          <a:p>
            <a:endParaRPr lang="fr-FR" noProof="0" dirty="0"/>
          </a:p>
          <a:p>
            <a:r>
              <a:rPr lang="fr-FR" noProof="0" dirty="0"/>
              <a:t>Les scripts ont une extension *.</a:t>
            </a:r>
            <a:r>
              <a:rPr lang="fr-FR" noProof="0" dirty="0" err="1"/>
              <a:t>tf</a:t>
            </a:r>
            <a:endParaRPr lang="fr-FR" noProof="0" dirty="0"/>
          </a:p>
          <a:p>
            <a:endParaRPr lang="fr-FR" noProof="0" dirty="0"/>
          </a:p>
          <a:p>
            <a:r>
              <a:rPr lang="fr-FR" noProof="0" dirty="0"/>
              <a:t>Les données en entrée ont une extension *.</a:t>
            </a:r>
            <a:r>
              <a:rPr lang="fr-FR" noProof="0" dirty="0" err="1"/>
              <a:t>tfvars</a:t>
            </a:r>
            <a:endParaRPr lang="fr-FR" noProof="0" dirty="0"/>
          </a:p>
          <a:p>
            <a:endParaRPr lang="fr-FR" noProof="0" dirty="0"/>
          </a:p>
          <a:p>
            <a:r>
              <a:rPr lang="fr-FR" noProof="0" dirty="0"/>
              <a:t>La séparation des fichiers est optionnelles, mais néanmoins nécessaire pour la clarté</a:t>
            </a:r>
          </a:p>
          <a:p>
            <a:endParaRPr lang="fr-FR" noProof="0" dirty="0"/>
          </a:p>
          <a:p>
            <a:r>
              <a:rPr lang="fr-FR" noProof="0" dirty="0"/>
              <a:t>Terraform n’analyse que le dossier couran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167D0252-6604-46CB-B631-B7027F3046C2}" type="slidenum">
              <a:rPr lang="fr-CA" altLang="fr-FR" smtClean="0"/>
              <a:pPr>
                <a:defRPr/>
              </a:pPr>
              <a:t>16</a:t>
            </a:fld>
            <a:endParaRPr lang="fr-CA" altLang="fr-FR" dirty="0"/>
          </a:p>
        </p:txBody>
      </p:sp>
    </p:spTree>
    <p:extLst>
      <p:ext uri="{BB962C8B-B14F-4D97-AF65-F5344CB8AC3E}">
        <p14:creationId xmlns:p14="http://schemas.microsoft.com/office/powerpoint/2010/main" val="1746058905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1217531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fr-CA" sz="1800" i="0" dirty="0"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Maintenant que nous avons des scripts, nous voulons les rouler</a:t>
            </a:r>
          </a:p>
          <a:p>
            <a:pPr marL="0" marR="0" lvl="0" indent="0" algn="l" defTabSz="1217531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fr-CA" sz="1800" i="0" dirty="0"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Pour cela, vous aurez besoin de l’exécutable.</a:t>
            </a:r>
          </a:p>
          <a:p>
            <a:pPr marL="0" marR="0" lvl="0" indent="0" algn="l" defTabSz="1217531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fr-CA" sz="1800" i="0" dirty="0">
              <a:effectLst/>
              <a:latin typeface="Consolas" panose="020B0609020204030204" pitchFamily="49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marR="0" lvl="0" indent="0" algn="l" defTabSz="1217531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fr-CA" sz="1800" i="0" dirty="0"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Vous pouvez le récupérer sur le site de Terraform </a:t>
            </a:r>
          </a:p>
          <a:p>
            <a:pPr marL="0" marR="0" lvl="0" indent="0" algn="l" defTabSz="1217531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fr-CA" i="0" dirty="0"/>
          </a:p>
          <a:p>
            <a:pPr marL="0" marR="0" lvl="0" indent="0" algn="l" defTabSz="1217531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fr-CA" sz="1800" i="0" dirty="0"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Ou avec un gestionnaire de paquets comme </a:t>
            </a:r>
            <a:r>
              <a:rPr lang="fr-CA" sz="1800" i="0" dirty="0" err="1"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Chocolatey</a:t>
            </a:r>
            <a:endParaRPr lang="fr-CA" sz="1800" i="0" dirty="0">
              <a:effectLst/>
              <a:latin typeface="Consolas" panose="020B0609020204030204" pitchFamily="49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marR="0" lvl="0" indent="0" algn="l" defTabSz="1217531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fr-CA" sz="1800" i="0" dirty="0">
              <a:effectLst/>
              <a:latin typeface="Consolas" panose="020B0609020204030204" pitchFamily="49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just">
              <a:lnSpc>
                <a:spcPct val="107000"/>
              </a:lnSpc>
              <a:spcAft>
                <a:spcPts val="800"/>
              </a:spcAft>
            </a:pPr>
            <a:r>
              <a:rPr lang="fr-CA" sz="1800" i="0" dirty="0"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Comme Terraform est disponible pour toutes plateformes de Windows à Linux en passant par </a:t>
            </a:r>
            <a:r>
              <a:rPr lang="fr-CA" sz="1800" i="0" dirty="0" err="1"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macOS</a:t>
            </a:r>
            <a:r>
              <a:rPr lang="fr-CA" sz="1800" i="0" dirty="0"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, vous pouvez l’intégrer dans n’importe quel outil de déploiement.</a:t>
            </a:r>
          </a:p>
          <a:p>
            <a:pPr algn="just">
              <a:lnSpc>
                <a:spcPct val="107000"/>
              </a:lnSpc>
              <a:spcAft>
                <a:spcPts val="800"/>
              </a:spcAft>
            </a:pPr>
            <a:r>
              <a:rPr lang="fr-CA" sz="1800" i="0" dirty="0"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Dans les pipelines Azure DevOps par exemple, les agents de déploiement Linux l’embarquent par défaut.</a:t>
            </a:r>
          </a:p>
          <a:p>
            <a:pPr marL="0" marR="0" lvl="0" indent="0" algn="l" defTabSz="1217531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fr-CA" sz="1800" i="0" dirty="0">
              <a:effectLst/>
              <a:latin typeface="Consolas" panose="020B0609020204030204" pitchFamily="49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marR="0" lvl="0" indent="0" algn="l" defTabSz="1217531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fr-CA" sz="1800" i="0" dirty="0"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Enfin pour les autres agents, il suffit d’intégrer l’exécutable de Terraform,</a:t>
            </a:r>
          </a:p>
          <a:p>
            <a:pPr marL="0" marR="0" lvl="0" indent="0" algn="l" defTabSz="1217531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fr-CA" i="0" dirty="0"/>
          </a:p>
          <a:p>
            <a:pPr marL="0" marR="0" lvl="0" indent="0" algn="l" defTabSz="1217531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fr-CA" sz="1800" i="0" dirty="0"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Une fois Terraform installé, vous pouvez ex</a:t>
            </a:r>
            <a:r>
              <a:rPr lang="en-CA" sz="1800" i="0" dirty="0" err="1"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écuter</a:t>
            </a:r>
            <a:r>
              <a:rPr lang="en-CA" sz="1800" i="0" dirty="0"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fr-CA" sz="1800" i="0" dirty="0"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vos commandes Terraform dans votre terminal de prédilection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167D0252-6604-46CB-B631-B7027F3046C2}" type="slidenum">
              <a:rPr lang="fr-CA" altLang="fr-FR" smtClean="0"/>
              <a:pPr>
                <a:defRPr/>
              </a:pPr>
              <a:t>18</a:t>
            </a:fld>
            <a:endParaRPr lang="fr-CA" altLang="fr-FR" dirty="0"/>
          </a:p>
        </p:txBody>
      </p:sp>
    </p:spTree>
    <p:extLst>
      <p:ext uri="{BB962C8B-B14F-4D97-AF65-F5344CB8AC3E}">
        <p14:creationId xmlns:p14="http://schemas.microsoft.com/office/powerpoint/2010/main" val="664648403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just">
              <a:lnSpc>
                <a:spcPct val="107000"/>
              </a:lnSpc>
              <a:spcAft>
                <a:spcPts val="800"/>
              </a:spcAft>
            </a:pPr>
            <a:r>
              <a:rPr lang="fr-CA" sz="1800" i="1" dirty="0"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Il existe une vingtaine de commande pour </a:t>
            </a:r>
            <a:r>
              <a:rPr lang="fr-CA" sz="1800" i="1" dirty="0" err="1"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Terraform</a:t>
            </a:r>
            <a:r>
              <a:rPr lang="fr-CA" sz="1800" i="1" dirty="0"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, mais les 3 que vous utiliserez le plus sont celles-ci :</a:t>
            </a:r>
          </a:p>
          <a:p>
            <a:pPr algn="just">
              <a:lnSpc>
                <a:spcPct val="107000"/>
              </a:lnSpc>
              <a:spcAft>
                <a:spcPts val="800"/>
              </a:spcAft>
            </a:pPr>
            <a:endParaRPr lang="fr-CA" sz="1800" i="1" dirty="0">
              <a:effectLst/>
              <a:latin typeface="Consolas" panose="020B0609020204030204" pitchFamily="49" charset="0"/>
              <a:cs typeface="Times New Roman" panose="02020603050405020304" pitchFamily="18" charset="0"/>
            </a:endParaRPr>
          </a:p>
          <a:p>
            <a:pPr marL="342900" lvl="0" indent="-342900" algn="just">
              <a:lnSpc>
                <a:spcPct val="107000"/>
              </a:lnSpc>
              <a:spcAft>
                <a:spcPts val="800"/>
              </a:spcAft>
              <a:buFont typeface="+mj-lt"/>
              <a:buAutoNum type="arabicPeriod"/>
            </a:pPr>
            <a:r>
              <a:rPr lang="fr-CA" sz="1800" i="1" dirty="0"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init</a:t>
            </a:r>
          </a:p>
          <a:p>
            <a:pPr marL="342900" lvl="0" indent="-342900" algn="just">
              <a:lnSpc>
                <a:spcPct val="107000"/>
              </a:lnSpc>
              <a:spcAft>
                <a:spcPts val="800"/>
              </a:spcAft>
              <a:buFont typeface="+mj-lt"/>
              <a:buAutoNum type="arabicPeriod"/>
            </a:pPr>
            <a:r>
              <a:rPr lang="fr-CA" sz="1800" i="1" dirty="0"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plan</a:t>
            </a:r>
          </a:p>
          <a:p>
            <a:pPr marL="342900" lvl="0" indent="-342900" algn="just">
              <a:lnSpc>
                <a:spcPct val="107000"/>
              </a:lnSpc>
              <a:spcAft>
                <a:spcPts val="800"/>
              </a:spcAft>
              <a:buFont typeface="+mj-lt"/>
              <a:buAutoNum type="arabicPeriod"/>
            </a:pPr>
            <a:r>
              <a:rPr lang="fr-CA" sz="1800" i="1" dirty="0" err="1"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apply</a:t>
            </a:r>
            <a:endParaRPr lang="fr-CA" sz="1800" i="1" dirty="0">
              <a:effectLst/>
              <a:latin typeface="Consolas" panose="020B0609020204030204" pitchFamily="49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just">
              <a:lnSpc>
                <a:spcPct val="107000"/>
              </a:lnSpc>
              <a:spcAft>
                <a:spcPts val="800"/>
              </a:spcAft>
            </a:pPr>
            <a:endParaRPr lang="fr-CA" dirty="0"/>
          </a:p>
          <a:p>
            <a:pPr algn="just">
              <a:lnSpc>
                <a:spcPct val="107000"/>
              </a:lnSpc>
              <a:spcAft>
                <a:spcPts val="800"/>
              </a:spcAft>
            </a:pPr>
            <a:r>
              <a:rPr lang="fr-CA" dirty="0"/>
              <a:t>Ce sont les 3 commandes qui vous permettront de déployer votre infrastructure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167D0252-6604-46CB-B631-B7027F3046C2}" type="slidenum">
              <a:rPr lang="fr-CA" altLang="fr-FR" smtClean="0"/>
              <a:pPr>
                <a:defRPr/>
              </a:pPr>
              <a:t>19</a:t>
            </a:fld>
            <a:endParaRPr lang="fr-CA" altLang="fr-FR" dirty="0"/>
          </a:p>
        </p:txBody>
      </p:sp>
    </p:spTree>
    <p:extLst>
      <p:ext uri="{BB962C8B-B14F-4D97-AF65-F5344CB8AC3E}">
        <p14:creationId xmlns:p14="http://schemas.microsoft.com/office/powerpoint/2010/main" val="1440454531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CA" dirty="0"/>
              <a:t>Comme pour les scripts, nous </a:t>
            </a:r>
            <a:r>
              <a:rPr lang="en-CA" dirty="0" err="1"/>
              <a:t>allons</a:t>
            </a:r>
            <a:r>
              <a:rPr lang="en-CA" dirty="0"/>
              <a:t> </a:t>
            </a:r>
            <a:r>
              <a:rPr lang="en-CA" dirty="0" err="1"/>
              <a:t>voir</a:t>
            </a:r>
            <a:r>
              <a:rPr lang="en-CA" dirty="0"/>
              <a:t> ensemble comment </a:t>
            </a:r>
            <a:r>
              <a:rPr lang="en-CA" dirty="0" err="1"/>
              <a:t>ce</a:t>
            </a:r>
            <a:r>
              <a:rPr lang="en-CA" dirty="0"/>
              <a:t> que font </a:t>
            </a:r>
            <a:r>
              <a:rPr lang="en-CA" dirty="0" err="1"/>
              <a:t>ces</a:t>
            </a:r>
            <a:r>
              <a:rPr lang="en-CA" dirty="0"/>
              <a:t> </a:t>
            </a:r>
            <a:r>
              <a:rPr lang="en-CA" dirty="0" err="1"/>
              <a:t>commandes</a:t>
            </a:r>
            <a:r>
              <a:rPr lang="en-CA" dirty="0"/>
              <a:t>.</a:t>
            </a:r>
            <a:endParaRPr lang="fr-C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167D0252-6604-46CB-B631-B7027F3046C2}" type="slidenum">
              <a:rPr lang="fr-CA" altLang="fr-FR" smtClean="0"/>
              <a:pPr>
                <a:defRPr/>
              </a:pPr>
              <a:t>20</a:t>
            </a:fld>
            <a:endParaRPr lang="fr-CA" altLang="fr-FR" dirty="0"/>
          </a:p>
        </p:txBody>
      </p:sp>
    </p:spTree>
    <p:extLst>
      <p:ext uri="{BB962C8B-B14F-4D97-AF65-F5344CB8AC3E}">
        <p14:creationId xmlns:p14="http://schemas.microsoft.com/office/powerpoint/2010/main" val="1788800666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167D0252-6604-46CB-B631-B7027F3046C2}" type="slidenum">
              <a:rPr lang="fr-CA" altLang="fr-FR" smtClean="0"/>
              <a:pPr>
                <a:defRPr/>
              </a:pPr>
              <a:t>21</a:t>
            </a:fld>
            <a:endParaRPr lang="fr-CA" altLang="fr-FR" dirty="0"/>
          </a:p>
        </p:txBody>
      </p:sp>
    </p:spTree>
    <p:extLst>
      <p:ext uri="{BB962C8B-B14F-4D97-AF65-F5344CB8AC3E}">
        <p14:creationId xmlns:p14="http://schemas.microsoft.com/office/powerpoint/2010/main" val="286757366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C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167D0252-6604-46CB-B631-B7027F3046C2}" type="slidenum">
              <a:rPr lang="fr-CA" altLang="fr-FR" smtClean="0"/>
              <a:pPr>
                <a:defRPr/>
              </a:pPr>
              <a:t>22</a:t>
            </a:fld>
            <a:endParaRPr lang="fr-CA" altLang="fr-FR" dirty="0"/>
          </a:p>
        </p:txBody>
      </p:sp>
    </p:spTree>
    <p:extLst>
      <p:ext uri="{BB962C8B-B14F-4D97-AF65-F5344CB8AC3E}">
        <p14:creationId xmlns:p14="http://schemas.microsoft.com/office/powerpoint/2010/main" val="1767585955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1217531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fr-CA" sz="1800" i="0" dirty="0" err="1"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HashiCorp</a:t>
            </a:r>
            <a:r>
              <a:rPr lang="fr-CA" sz="1800" i="0" dirty="0"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met à disposition des tutoriels pour Azure, AWS et Google Cloud Platform</a:t>
            </a:r>
          </a:p>
          <a:p>
            <a:pPr marL="0" marR="0" lvl="0" indent="0" algn="l" defTabSz="1217531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fr-CA" sz="1800" i="0" dirty="0">
              <a:effectLst/>
              <a:latin typeface="Consolas" panose="020B0609020204030204" pitchFamily="49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marR="0" lvl="0" indent="0" algn="l" defTabSz="1217531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fr-CA" sz="1800" i="0" dirty="0"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Ils vous permettront de vous essayer à vos premières exécutions.</a:t>
            </a:r>
          </a:p>
          <a:p>
            <a:pPr marL="0" marR="0" lvl="0" indent="0" algn="l" defTabSz="1217531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fr-CA" sz="1800" i="0" dirty="0">
              <a:effectLst/>
              <a:latin typeface="Consolas" panose="020B0609020204030204" pitchFamily="49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marR="0" lvl="0" indent="0" algn="l" defTabSz="1217531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fr-CA" sz="1800" i="0" dirty="0"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Comptez 1h pour les suivre. </a:t>
            </a:r>
          </a:p>
          <a:p>
            <a:endParaRPr lang="fr-CA" i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167D0252-6604-46CB-B631-B7027F3046C2}" type="slidenum">
              <a:rPr lang="fr-CA" altLang="fr-FR" smtClean="0"/>
              <a:pPr>
                <a:defRPr/>
              </a:pPr>
              <a:t>23</a:t>
            </a:fld>
            <a:endParaRPr lang="fr-CA" altLang="fr-FR" dirty="0"/>
          </a:p>
        </p:txBody>
      </p:sp>
    </p:spTree>
    <p:extLst>
      <p:ext uri="{BB962C8B-B14F-4D97-AF65-F5344CB8AC3E}">
        <p14:creationId xmlns:p14="http://schemas.microsoft.com/office/powerpoint/2010/main" val="280419302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85750" indent="-285750" algn="just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fr-CA" sz="1800" i="0" dirty="0"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Pierre CAVAROC,</a:t>
            </a:r>
          </a:p>
          <a:p>
            <a:pPr marL="285750" indent="-285750" algn="just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fr-CA" sz="1800" i="0" dirty="0"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français depuis 1983,</a:t>
            </a:r>
          </a:p>
          <a:p>
            <a:pPr marL="285750" indent="-285750" algn="just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fr-CA" sz="1800" i="0" dirty="0"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développeur depuis 1996,</a:t>
            </a:r>
          </a:p>
          <a:p>
            <a:pPr marL="285750" indent="-285750" algn="just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fr-CA" sz="1800" i="0" dirty="0"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québécois depuis 2014,</a:t>
            </a:r>
          </a:p>
          <a:p>
            <a:pPr marL="285750" indent="-285750" algn="just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fr-CA" sz="1800" i="0" dirty="0"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canadien depuis 2020</a:t>
            </a:r>
          </a:p>
          <a:p>
            <a:pPr marL="285750" indent="-285750" algn="just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fr-CA" sz="1800" i="0" dirty="0"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et enthousiaste .NET depuis Framework 2.0 !</a:t>
            </a:r>
          </a:p>
          <a:p>
            <a:pPr algn="just">
              <a:lnSpc>
                <a:spcPct val="107000"/>
              </a:lnSpc>
              <a:spcAft>
                <a:spcPts val="800"/>
              </a:spcAft>
            </a:pPr>
            <a:endParaRPr lang="fr-CA" sz="1800" i="0" dirty="0">
              <a:effectLst/>
              <a:latin typeface="Consolas" panose="020B0609020204030204" pitchFamily="49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fr-CA" sz="1800" i="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Professionnellement, j’ai </a:t>
            </a:r>
            <a:r>
              <a:rPr lang="fr-CA" sz="1800" b="1" i="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longtemps travaillé dans la consultation</a:t>
            </a:r>
            <a:r>
              <a:rPr lang="fr-CA" sz="1800" i="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,</a:t>
            </a:r>
          </a:p>
          <a:p>
            <a:r>
              <a:rPr lang="fr-CA" sz="1800" i="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où j’ai notamment eu la chance de </a:t>
            </a:r>
            <a:r>
              <a:rPr lang="fr-CA" sz="1800" b="1" i="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travailler avec </a:t>
            </a:r>
            <a:r>
              <a:rPr lang="fr-CA" sz="1800" b="1" i="0" dirty="0" err="1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Tidjani</a:t>
            </a:r>
            <a:r>
              <a:rPr lang="fr-CA" sz="1800" b="1" i="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fr-CA" sz="1800" b="1" i="0" dirty="0" err="1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Belmansour</a:t>
            </a:r>
            <a:r>
              <a:rPr lang="fr-CA" sz="1800" i="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,</a:t>
            </a:r>
          </a:p>
          <a:p>
            <a:r>
              <a:rPr lang="fr-CA" sz="1800" i="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que je </a:t>
            </a:r>
            <a:r>
              <a:rPr lang="fr-CA" sz="1800" b="1" i="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remercie d’ailleurs chaleureusement </a:t>
            </a:r>
            <a:r>
              <a:rPr lang="fr-CA" sz="1800" i="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pour son invitation à vous parler ce soir.</a:t>
            </a:r>
          </a:p>
          <a:p>
            <a:endParaRPr lang="fr-CA" sz="1800" i="0" dirty="0">
              <a:effectLst/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fr-CA" sz="1800" i="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Depuis 2017, je suis passé du </a:t>
            </a:r>
            <a:r>
              <a:rPr lang="fr-CA" sz="1800" b="1" i="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côté produit du développement </a:t>
            </a:r>
            <a:r>
              <a:rPr lang="fr-CA" sz="1800" i="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d’abord chez </a:t>
            </a:r>
            <a:r>
              <a:rPr lang="fr-CA" sz="1800" b="1" i="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EXFO, </a:t>
            </a:r>
            <a:r>
              <a:rPr lang="fr-CA" sz="1800" b="0" i="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un manufacturier d’appareils de surveillance et de maintenance des fibres optiques</a:t>
            </a:r>
          </a:p>
          <a:p>
            <a:r>
              <a:rPr lang="fr-CA" sz="1800" i="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et depuis le début de l’année chez </a:t>
            </a:r>
            <a:r>
              <a:rPr lang="fr-CA" sz="1800" b="1" i="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Hilo</a:t>
            </a:r>
            <a:r>
              <a:rPr lang="fr-CA" sz="1800" i="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endParaRPr lang="fr-CA" i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167D0252-6604-46CB-B631-B7027F3046C2}" type="slidenum">
              <a:rPr lang="fr-CA" altLang="fr-FR" smtClean="0"/>
              <a:pPr>
                <a:defRPr/>
              </a:pPr>
              <a:t>3</a:t>
            </a:fld>
            <a:endParaRPr lang="fr-CA" altLang="fr-FR" dirty="0"/>
          </a:p>
        </p:txBody>
      </p:sp>
    </p:spTree>
    <p:extLst>
      <p:ext uri="{BB962C8B-B14F-4D97-AF65-F5344CB8AC3E}">
        <p14:creationId xmlns:p14="http://schemas.microsoft.com/office/powerpoint/2010/main" val="803803328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CA" dirty="0"/>
              <a:t>La documentation </a:t>
            </a:r>
            <a:r>
              <a:rPr lang="en-CA" dirty="0" err="1"/>
              <a:t>est</a:t>
            </a:r>
            <a:r>
              <a:rPr lang="en-CA" dirty="0"/>
              <a:t> </a:t>
            </a:r>
            <a:r>
              <a:rPr lang="en-CA" dirty="0" err="1"/>
              <a:t>extr</a:t>
            </a:r>
            <a:r>
              <a:rPr lang="fr-CA" dirty="0" err="1"/>
              <a:t>êmement</a:t>
            </a:r>
            <a:r>
              <a:rPr lang="fr-CA" dirty="0"/>
              <a:t> bien faite et renseigné.</a:t>
            </a:r>
          </a:p>
          <a:p>
            <a:r>
              <a:rPr lang="fr-CA" dirty="0"/>
              <a:t>Vous n’aurez presque pas à aller sur </a:t>
            </a:r>
            <a:r>
              <a:rPr lang="fr-CA" dirty="0" err="1"/>
              <a:t>StackOverflow</a:t>
            </a:r>
            <a:r>
              <a:rPr lang="fr-CA" dirty="0"/>
              <a:t> pour trouver une solution à vos bloquants !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167D0252-6604-46CB-B631-B7027F3046C2}" type="slidenum">
              <a:rPr lang="fr-CA" altLang="fr-FR" smtClean="0"/>
              <a:pPr>
                <a:defRPr/>
              </a:pPr>
              <a:t>24</a:t>
            </a:fld>
            <a:endParaRPr lang="fr-CA" altLang="fr-FR" dirty="0"/>
          </a:p>
        </p:txBody>
      </p:sp>
    </p:spTree>
    <p:extLst>
      <p:ext uri="{BB962C8B-B14F-4D97-AF65-F5344CB8AC3E}">
        <p14:creationId xmlns:p14="http://schemas.microsoft.com/office/powerpoint/2010/main" val="107881550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CA" dirty="0"/>
              <a:t>Tout d’abord un mot sur mon employeur, Hilo.</a:t>
            </a:r>
          </a:p>
          <a:p>
            <a:endParaRPr lang="fr-CA" dirty="0"/>
          </a:p>
          <a:p>
            <a:r>
              <a:rPr lang="fr-CA" dirty="0"/>
              <a:t>Nous sommes </a:t>
            </a:r>
            <a:r>
              <a:rPr lang="fr-CA" b="1" dirty="0"/>
              <a:t>une filiale de Hydro Québec </a:t>
            </a:r>
            <a:r>
              <a:rPr lang="fr-CA" dirty="0"/>
              <a:t>avec pour </a:t>
            </a:r>
            <a:r>
              <a:rPr lang="fr-CA" b="1" dirty="0"/>
              <a:t>objectif</a:t>
            </a:r>
            <a:r>
              <a:rPr lang="fr-CA" dirty="0"/>
              <a:t> d’être le </a:t>
            </a:r>
            <a:r>
              <a:rPr lang="fr-CA" b="1" dirty="0"/>
              <a:t>moteur de la transition énergétique</a:t>
            </a:r>
            <a:r>
              <a:rPr lang="fr-CA" dirty="0"/>
              <a:t>, aussi bien pour HQ que pour ses usagers.</a:t>
            </a:r>
          </a:p>
          <a:p>
            <a:endParaRPr lang="fr-CA" dirty="0"/>
          </a:p>
          <a:p>
            <a:r>
              <a:rPr lang="fr-CA" dirty="0"/>
              <a:t>Nous offrons aux usagers une </a:t>
            </a:r>
            <a:r>
              <a:rPr lang="fr-CA" b="1" dirty="0"/>
              <a:t>gamme d’appareils intelligents</a:t>
            </a:r>
            <a:r>
              <a:rPr lang="fr-CA" dirty="0"/>
              <a:t>, notamment des </a:t>
            </a:r>
            <a:r>
              <a:rPr lang="fr-CA" b="1" dirty="0"/>
              <a:t>thermostats connectés</a:t>
            </a:r>
            <a:r>
              <a:rPr lang="fr-CA" dirty="0"/>
              <a:t>, et nous les aidons à </a:t>
            </a:r>
            <a:r>
              <a:rPr lang="fr-CA" b="1" dirty="0"/>
              <a:t>optimiser leur consommation</a:t>
            </a:r>
            <a:r>
              <a:rPr lang="fr-CA" dirty="0"/>
              <a:t>.</a:t>
            </a:r>
          </a:p>
          <a:p>
            <a:endParaRPr lang="fr-CA" dirty="0"/>
          </a:p>
          <a:p>
            <a:r>
              <a:rPr lang="fr-CA" dirty="0"/>
              <a:t>Les usagers </a:t>
            </a:r>
            <a:r>
              <a:rPr lang="fr-CA" b="1" dirty="0"/>
              <a:t>peuvent participer à nos défis </a:t>
            </a:r>
            <a:r>
              <a:rPr lang="fr-CA" b="0" dirty="0"/>
              <a:t>en baissant leur chauffage durant les périodes de grande demande,</a:t>
            </a:r>
          </a:p>
          <a:p>
            <a:r>
              <a:rPr lang="fr-CA" b="0" dirty="0"/>
              <a:t>ce </a:t>
            </a:r>
            <a:r>
              <a:rPr lang="fr-CA" dirty="0"/>
              <a:t>qui permet de </a:t>
            </a:r>
            <a:r>
              <a:rPr lang="fr-CA" b="1" dirty="0"/>
              <a:t>réduire le stress sur les infrastructures </a:t>
            </a:r>
            <a:r>
              <a:rPr lang="fr-CA" dirty="0"/>
              <a:t>de HQ,</a:t>
            </a:r>
          </a:p>
          <a:p>
            <a:r>
              <a:rPr lang="fr-CA" dirty="0"/>
              <a:t>pour le client de </a:t>
            </a:r>
            <a:r>
              <a:rPr lang="fr-CA" b="1" dirty="0"/>
              <a:t>diminuer sa facture </a:t>
            </a:r>
            <a:r>
              <a:rPr lang="fr-CA" dirty="0"/>
              <a:t>et de </a:t>
            </a:r>
            <a:r>
              <a:rPr lang="fr-CA" b="1" dirty="0"/>
              <a:t>recevoir des compensations financières</a:t>
            </a:r>
            <a:r>
              <a:rPr lang="fr-CA" dirty="0"/>
              <a:t>.</a:t>
            </a:r>
          </a:p>
          <a:p>
            <a:endParaRPr lang="fr-CA" dirty="0"/>
          </a:p>
          <a:p>
            <a:r>
              <a:rPr lang="fr-CA" dirty="0"/>
              <a:t>Au niveau technique, nous nous reposons sur le cloud Azure et comme vous vous en doutez, nous sommes de grands utilisateurs du </a:t>
            </a:r>
            <a:r>
              <a:rPr lang="fr-CA" dirty="0" err="1"/>
              <a:t>IaC</a:t>
            </a:r>
            <a:r>
              <a:rPr lang="fr-CA" dirty="0"/>
              <a:t> et de </a:t>
            </a:r>
            <a:r>
              <a:rPr lang="fr-CA" dirty="0" err="1"/>
              <a:t>Terraform</a:t>
            </a:r>
            <a:r>
              <a:rPr lang="fr-CA" dirty="0"/>
              <a:t> !</a:t>
            </a: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E2605BD-505D-466F-9D51-4E950AE96F97}" type="slidenum">
              <a:rPr lang="fr-CA" smtClean="0">
                <a:solidFill>
                  <a:prstClr val="black"/>
                </a:solidFill>
              </a:rPr>
              <a:pPr/>
              <a:t>4</a:t>
            </a:fld>
            <a:endParaRPr lang="fr-CA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6361796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1217531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fr-CA" sz="1800" i="0" dirty="0"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Durant la présentation, il y aura des démonstrations. Tout le code est disponible sur GitHub à l’adresse qui s’affiche à l’écran.</a:t>
            </a:r>
          </a:p>
          <a:p>
            <a:endParaRPr lang="fr-CA" i="0" dirty="0"/>
          </a:p>
          <a:p>
            <a:pPr marL="0" marR="0" lvl="0" indent="0" algn="l" defTabSz="1217531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fr-CA" sz="1800" i="0" dirty="0"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Une dernière précision : j’ai intégré des QR Codes dans les slides.</a:t>
            </a:r>
          </a:p>
          <a:p>
            <a:pPr marL="0" marR="0" lvl="0" indent="0" algn="l" defTabSz="1217531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fr-CA" sz="1800" i="0" dirty="0"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Pas de méfiance à avoir, je les ai générés moi-même et pointent directement vers leur cible (pas de tracker ou d’intermédiaire).</a:t>
            </a:r>
          </a:p>
          <a:p>
            <a:endParaRPr lang="fr-CA" i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167D0252-6604-46CB-B631-B7027F3046C2}" type="slidenum">
              <a:rPr lang="fr-CA" altLang="fr-FR" smtClean="0"/>
              <a:pPr>
                <a:defRPr/>
              </a:pPr>
              <a:t>5</a:t>
            </a:fld>
            <a:endParaRPr lang="fr-CA" altLang="fr-FR" dirty="0"/>
          </a:p>
        </p:txBody>
      </p:sp>
    </p:spTree>
    <p:extLst>
      <p:ext uri="{BB962C8B-B14F-4D97-AF65-F5344CB8AC3E}">
        <p14:creationId xmlns:p14="http://schemas.microsoft.com/office/powerpoint/2010/main" val="58954390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1217531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fr-CA" sz="1800" i="0" dirty="0"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Désormais, un projet implique un </a:t>
            </a:r>
            <a:r>
              <a:rPr lang="fr-CA" sz="1800" b="1" i="0" dirty="0"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nombre grandissant de composants </a:t>
            </a:r>
            <a:r>
              <a:rPr lang="fr-CA" sz="1800" i="0" dirty="0"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et de configurations spécifiques pour : la sécurité, le réseau, le stockage, etc.</a:t>
            </a:r>
          </a:p>
          <a:p>
            <a:pPr marL="0" marR="0" lvl="0" indent="0" algn="l" defTabSz="1217531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fr-CA" sz="1800" i="0" dirty="0">
              <a:effectLst/>
              <a:latin typeface="Consolas" panose="020B0609020204030204" pitchFamily="49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marR="0" lvl="0" indent="0" algn="l" defTabSz="1217531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fr-CA" sz="1800" i="0" dirty="0"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	</a:t>
            </a:r>
            <a:r>
              <a:rPr lang="fr-CA" sz="1800" b="1" i="0" dirty="0"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CLICK</a:t>
            </a:r>
          </a:p>
          <a:p>
            <a:endParaRPr lang="fr-CA" i="0" dirty="0"/>
          </a:p>
          <a:p>
            <a:pPr marL="0" marR="0" lvl="0" indent="0" algn="l" defTabSz="1217531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fr-CA" sz="1800" i="0" dirty="0"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Et afin de s’assurer que les livraisons en production se fassent sans heurt, il faut </a:t>
            </a:r>
            <a:r>
              <a:rPr lang="fr-CA" sz="1800" i="0" dirty="0" err="1"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stager</a:t>
            </a:r>
            <a:r>
              <a:rPr lang="fr-CA" sz="1800" i="0" dirty="0"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dans plusieurs environnements : Dev, QA, PROD</a:t>
            </a:r>
          </a:p>
          <a:p>
            <a:endParaRPr lang="fr-CA" i="0" dirty="0"/>
          </a:p>
          <a:p>
            <a:pPr marL="0" marR="0" lvl="0" indent="0" algn="l" defTabSz="1217531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fr-CA" sz="1800" i="0" dirty="0"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Autant d’environnements qu’il faut maintenir, et souvent, répliquer pour des usages précis</a:t>
            </a:r>
          </a:p>
          <a:p>
            <a:endParaRPr lang="fr-CA" i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167D0252-6604-46CB-B631-B7027F3046C2}" type="slidenum">
              <a:rPr lang="fr-CA" altLang="fr-FR" smtClean="0"/>
              <a:pPr>
                <a:defRPr/>
              </a:pPr>
              <a:t>7</a:t>
            </a:fld>
            <a:endParaRPr lang="fr-CA" altLang="fr-FR" dirty="0"/>
          </a:p>
        </p:txBody>
      </p:sp>
    </p:spTree>
    <p:extLst>
      <p:ext uri="{BB962C8B-B14F-4D97-AF65-F5344CB8AC3E}">
        <p14:creationId xmlns:p14="http://schemas.microsoft.com/office/powerpoint/2010/main" val="151410784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CA" sz="1600" i="0" dirty="0" err="1"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Heureusement</a:t>
            </a:r>
            <a:r>
              <a:rPr lang="en-CA" sz="1600" i="0" dirty="0"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, la solution </a:t>
            </a:r>
            <a:r>
              <a:rPr lang="en-CA" sz="1600" i="0" dirty="0" err="1"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existe</a:t>
            </a:r>
            <a:r>
              <a:rPr lang="en-CA" sz="1600" i="0" dirty="0"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et se </a:t>
            </a:r>
            <a:r>
              <a:rPr lang="en-CA" sz="1600" i="0" dirty="0" err="1"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nomme</a:t>
            </a:r>
            <a:r>
              <a:rPr lang="en-CA" sz="1600" i="0" dirty="0"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le </a:t>
            </a:r>
            <a:r>
              <a:rPr lang="en-CA" sz="1600" i="0" dirty="0" err="1"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IaC</a:t>
            </a:r>
            <a:r>
              <a:rPr lang="en-CA" sz="1600" i="0" dirty="0"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.</a:t>
            </a:r>
          </a:p>
          <a:p>
            <a:endParaRPr lang="en-CA" sz="1600" i="0" dirty="0">
              <a:effectLst/>
              <a:latin typeface="Consolas" panose="020B0609020204030204" pitchFamily="49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en-CA" sz="1600" i="0" dirty="0" err="1"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Selon</a:t>
            </a:r>
            <a:r>
              <a:rPr lang="en-CA" sz="1600" i="0" dirty="0"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Wikipedia,</a:t>
            </a:r>
          </a:p>
          <a:p>
            <a:endParaRPr lang="en-CA" i="0" dirty="0"/>
          </a:p>
          <a:p>
            <a:r>
              <a:rPr lang="en-CA" b="1" i="0" dirty="0"/>
              <a:t>	Lire la </a:t>
            </a:r>
            <a:r>
              <a:rPr lang="en-CA" b="1" i="0" dirty="0" err="1"/>
              <a:t>définition</a:t>
            </a:r>
            <a:endParaRPr lang="en-CA" b="1" i="0" dirty="0"/>
          </a:p>
          <a:p>
            <a:endParaRPr lang="en-CA" i="0" dirty="0"/>
          </a:p>
          <a:p>
            <a:r>
              <a:rPr lang="fr-CA" sz="1800" i="0" dirty="0"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En d’autres termes, coder une infrastructure revient à la </a:t>
            </a:r>
            <a:r>
              <a:rPr lang="fr-CA" sz="1800" b="1" i="0" dirty="0"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scripter le plus précisément possible </a:t>
            </a:r>
            <a:r>
              <a:rPr lang="fr-CA" sz="1800" i="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dans le but de </a:t>
            </a:r>
            <a:r>
              <a:rPr lang="fr-CA" sz="1800" b="1" i="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la répliquer de manière fiable et à volonté</a:t>
            </a:r>
            <a:r>
              <a:rPr lang="fr-CA" sz="1800" i="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.</a:t>
            </a:r>
          </a:p>
          <a:p>
            <a:endParaRPr lang="fr-CA" sz="1800" i="0" dirty="0">
              <a:effectLst/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fr-CA" i="0" dirty="0"/>
              <a:t>Dans la pratique, si notre </a:t>
            </a:r>
            <a:r>
              <a:rPr lang="fr-CA" b="1" i="0" dirty="0"/>
              <a:t>environnement de développement est un clone de la production</a:t>
            </a:r>
            <a:r>
              <a:rPr lang="fr-CA" i="0" dirty="0"/>
              <a:t>, le </a:t>
            </a:r>
            <a:r>
              <a:rPr lang="fr-CA" b="1" i="0" dirty="0"/>
              <a:t>stress et l’incertitude de la livraison </a:t>
            </a:r>
            <a:r>
              <a:rPr lang="fr-CA" i="0" dirty="0"/>
              <a:t>sont allégés voire levés complètement.</a:t>
            </a:r>
          </a:p>
          <a:p>
            <a:endParaRPr lang="fr-CA" i="0" dirty="0"/>
          </a:p>
          <a:p>
            <a:r>
              <a:rPr lang="fr-CA" i="0" dirty="0"/>
              <a:t>L’action de livrer devient une simple étape dans le processus de développement, et les équipes peuvent ainsi se concentrer sur ce qui importe : développer des fonctionnalités qui apportent de la valeur aux clients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167D0252-6604-46CB-B631-B7027F3046C2}" type="slidenum">
              <a:rPr lang="fr-CA" altLang="fr-FR" smtClean="0"/>
              <a:pPr>
                <a:defRPr/>
              </a:pPr>
              <a:t>8</a:t>
            </a:fld>
            <a:endParaRPr lang="fr-CA" altLang="fr-FR" dirty="0"/>
          </a:p>
        </p:txBody>
      </p:sp>
    </p:spTree>
    <p:extLst>
      <p:ext uri="{BB962C8B-B14F-4D97-AF65-F5344CB8AC3E}">
        <p14:creationId xmlns:p14="http://schemas.microsoft.com/office/powerpoint/2010/main" val="148117880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1217531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fr-CA" sz="1800" i="0" dirty="0"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Il existe de nombreux outils. De ceux spécifiques à un fournisseur :</a:t>
            </a:r>
          </a:p>
          <a:p>
            <a:pPr marL="607972" lvl="1" indent="0" algn="just">
              <a:lnSpc>
                <a:spcPct val="107000"/>
              </a:lnSpc>
              <a:spcAft>
                <a:spcPts val="800"/>
              </a:spcAft>
              <a:buFont typeface="Symbol" panose="05050102010706020507" pitchFamily="18" charset="2"/>
              <a:buNone/>
            </a:pPr>
            <a:r>
              <a:rPr lang="fr-CA" sz="1800" i="0" dirty="0"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Azure </a:t>
            </a:r>
            <a:r>
              <a:rPr lang="fr-CA" sz="1800" i="0" dirty="0" err="1"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Resources</a:t>
            </a:r>
            <a:r>
              <a:rPr lang="fr-CA" sz="1800" i="0" dirty="0"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Manager,</a:t>
            </a:r>
          </a:p>
          <a:p>
            <a:pPr marL="607972" lvl="1" indent="0" algn="just">
              <a:lnSpc>
                <a:spcPct val="107000"/>
              </a:lnSpc>
              <a:spcAft>
                <a:spcPts val="800"/>
              </a:spcAft>
              <a:buFont typeface="Symbol" panose="05050102010706020507" pitchFamily="18" charset="2"/>
              <a:buNone/>
            </a:pPr>
            <a:r>
              <a:rPr lang="fr-CA" sz="1800" i="0" dirty="0"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AWS </a:t>
            </a:r>
            <a:r>
              <a:rPr lang="fr-CA" sz="1800" i="0" dirty="0" err="1"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CloudFormation</a:t>
            </a:r>
            <a:r>
              <a:rPr lang="fr-CA" sz="1800" i="0" dirty="0"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,</a:t>
            </a:r>
          </a:p>
          <a:p>
            <a:pPr marL="607972" lvl="1" indent="0" algn="just">
              <a:lnSpc>
                <a:spcPct val="107000"/>
              </a:lnSpc>
              <a:spcAft>
                <a:spcPts val="800"/>
              </a:spcAft>
              <a:buFont typeface="Symbol" panose="05050102010706020507" pitchFamily="18" charset="2"/>
              <a:buNone/>
            </a:pPr>
            <a:r>
              <a:rPr lang="fr-CA" sz="1800" i="0" dirty="0"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Google Cloud </a:t>
            </a:r>
            <a:r>
              <a:rPr lang="fr-CA" sz="1800" i="0" dirty="0" err="1"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Deployment</a:t>
            </a:r>
            <a:r>
              <a:rPr lang="fr-CA" sz="1800" i="0" dirty="0"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Manager</a:t>
            </a:r>
          </a:p>
          <a:p>
            <a:pPr marL="607972" lvl="1" indent="0" algn="just">
              <a:lnSpc>
                <a:spcPct val="107000"/>
              </a:lnSpc>
              <a:spcAft>
                <a:spcPts val="800"/>
              </a:spcAft>
              <a:buFont typeface="Symbol" panose="05050102010706020507" pitchFamily="18" charset="2"/>
              <a:buNone/>
            </a:pPr>
            <a:endParaRPr lang="fr-CA" sz="1800" i="0" dirty="0">
              <a:effectLst/>
              <a:latin typeface="Consolas" panose="020B0609020204030204" pitchFamily="49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607972" lvl="1" indent="0" algn="just">
              <a:lnSpc>
                <a:spcPct val="107000"/>
              </a:lnSpc>
              <a:spcAft>
                <a:spcPts val="800"/>
              </a:spcAft>
              <a:buFont typeface="Symbol" panose="05050102010706020507" pitchFamily="18" charset="2"/>
              <a:buNone/>
            </a:pPr>
            <a:r>
              <a:rPr lang="fr-CA" sz="1800" b="1" i="0" dirty="0"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CLICK</a:t>
            </a:r>
          </a:p>
          <a:p>
            <a:pPr marL="607972" lvl="1" indent="0" algn="just">
              <a:lnSpc>
                <a:spcPct val="107000"/>
              </a:lnSpc>
              <a:spcAft>
                <a:spcPts val="800"/>
              </a:spcAft>
              <a:buFont typeface="Symbol" panose="05050102010706020507" pitchFamily="18" charset="2"/>
              <a:buNone/>
            </a:pPr>
            <a:endParaRPr lang="fr-CA" sz="1800" i="0" dirty="0">
              <a:effectLst/>
              <a:latin typeface="Consolas" panose="020B0609020204030204" pitchFamily="49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just">
              <a:lnSpc>
                <a:spcPct val="107000"/>
              </a:lnSpc>
              <a:spcAft>
                <a:spcPts val="800"/>
              </a:spcAft>
            </a:pPr>
            <a:r>
              <a:rPr lang="fr-CA" sz="1800" i="0" dirty="0"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Aux innombrables outils Cloud </a:t>
            </a:r>
            <a:r>
              <a:rPr lang="fr-CA" sz="1800" i="0" dirty="0" err="1"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agnostics</a:t>
            </a:r>
            <a:r>
              <a:rPr lang="fr-CA" sz="1800" i="0" dirty="0"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 :</a:t>
            </a:r>
          </a:p>
          <a:p>
            <a:pPr marL="607972" marR="0" lvl="1" indent="0" algn="just" defTabSz="1217531" rtl="0" eaLnBrk="0" fontAlgn="base" latinLnBrk="0" hangingPunct="0">
              <a:lnSpc>
                <a:spcPct val="107000"/>
              </a:lnSpc>
              <a:spcBef>
                <a:spcPct val="30000"/>
              </a:spcBef>
              <a:spcAft>
                <a:spcPts val="800"/>
              </a:spcAft>
              <a:buClrTx/>
              <a:buSzTx/>
              <a:buFont typeface="Symbol" panose="05050102010706020507" pitchFamily="18" charset="2"/>
              <a:buNone/>
              <a:tabLst/>
              <a:defRPr/>
            </a:pPr>
            <a:r>
              <a:rPr lang="fr-CA" sz="1800" i="0" dirty="0"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Ansible,</a:t>
            </a:r>
          </a:p>
          <a:p>
            <a:pPr marL="607972" lvl="1" indent="0" algn="just">
              <a:lnSpc>
                <a:spcPct val="107000"/>
              </a:lnSpc>
              <a:spcAft>
                <a:spcPts val="800"/>
              </a:spcAft>
              <a:buFont typeface="Symbol" panose="05050102010706020507" pitchFamily="18" charset="2"/>
              <a:buNone/>
            </a:pPr>
            <a:r>
              <a:rPr lang="fr-CA" sz="1800" i="0" dirty="0"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Chef,</a:t>
            </a:r>
          </a:p>
          <a:p>
            <a:pPr marL="607972" lvl="1" indent="0" algn="just">
              <a:lnSpc>
                <a:spcPct val="107000"/>
              </a:lnSpc>
              <a:spcAft>
                <a:spcPts val="800"/>
              </a:spcAft>
              <a:buFont typeface="Symbol" panose="05050102010706020507" pitchFamily="18" charset="2"/>
              <a:buNone/>
            </a:pPr>
            <a:r>
              <a:rPr lang="fr-CA" sz="1800" i="0" dirty="0" err="1"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Puppet</a:t>
            </a:r>
            <a:r>
              <a:rPr lang="fr-CA" sz="1800" i="0" dirty="0"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,</a:t>
            </a:r>
          </a:p>
          <a:p>
            <a:pPr marL="607972" lvl="1" indent="0" algn="just">
              <a:lnSpc>
                <a:spcPct val="107000"/>
              </a:lnSpc>
              <a:spcAft>
                <a:spcPts val="800"/>
              </a:spcAft>
              <a:buFont typeface="Symbol" panose="05050102010706020507" pitchFamily="18" charset="2"/>
              <a:buNone/>
            </a:pPr>
            <a:r>
              <a:rPr lang="fr-CA" sz="1800" i="0" dirty="0"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Etc.</a:t>
            </a:r>
          </a:p>
          <a:p>
            <a:pPr marL="607972" lvl="1" indent="0" algn="just">
              <a:lnSpc>
                <a:spcPct val="107000"/>
              </a:lnSpc>
              <a:spcAft>
                <a:spcPts val="800"/>
              </a:spcAft>
              <a:buFont typeface="Symbol" panose="05050102010706020507" pitchFamily="18" charset="2"/>
              <a:buNone/>
            </a:pPr>
            <a:endParaRPr lang="fr-CA" sz="1800" i="0" dirty="0">
              <a:effectLst/>
              <a:latin typeface="Consolas" panose="020B0609020204030204" pitchFamily="49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just">
              <a:lnSpc>
                <a:spcPct val="107000"/>
              </a:lnSpc>
              <a:spcAft>
                <a:spcPts val="800"/>
              </a:spcAft>
            </a:pPr>
            <a:r>
              <a:rPr lang="fr-CA" sz="1800" i="0" dirty="0"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Et bien sûr, celui que je vais vous présenter aujourd’hui :</a:t>
            </a:r>
          </a:p>
          <a:p>
            <a:pPr marL="607972" lvl="1" indent="0" algn="just">
              <a:lnSpc>
                <a:spcPct val="107000"/>
              </a:lnSpc>
              <a:spcAft>
                <a:spcPts val="800"/>
              </a:spcAft>
              <a:buFont typeface="+mj-lt"/>
              <a:buNone/>
            </a:pPr>
            <a:r>
              <a:rPr lang="fr-CA" sz="1800" i="0" dirty="0" err="1"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Terraform</a:t>
            </a:r>
            <a:r>
              <a:rPr lang="fr-CA" sz="1800" i="0" dirty="0"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167D0252-6604-46CB-B631-B7027F3046C2}" type="slidenum">
              <a:rPr lang="fr-CA" altLang="fr-FR" smtClean="0"/>
              <a:pPr>
                <a:defRPr/>
              </a:pPr>
              <a:t>9</a:t>
            </a:fld>
            <a:endParaRPr lang="fr-CA" altLang="fr-FR" dirty="0"/>
          </a:p>
        </p:txBody>
      </p:sp>
    </p:spTree>
    <p:extLst>
      <p:ext uri="{BB962C8B-B14F-4D97-AF65-F5344CB8AC3E}">
        <p14:creationId xmlns:p14="http://schemas.microsoft.com/office/powerpoint/2010/main" val="309765880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1217531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fr-CA" sz="1800" i="0" dirty="0"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Terraform est un outil développé par </a:t>
            </a:r>
            <a:r>
              <a:rPr lang="fr-CA" sz="1800" i="0" dirty="0" err="1"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HashiCorp</a:t>
            </a:r>
            <a:r>
              <a:rPr lang="fr-CA" sz="1800" i="0" dirty="0"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, une start-up de San Francisco cofondée par Mitchell Hashimoto et Armon </a:t>
            </a:r>
            <a:r>
              <a:rPr lang="fr-CA" sz="1800" i="0" dirty="0" err="1"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Dadgar</a:t>
            </a:r>
            <a:r>
              <a:rPr lang="fr-CA" sz="1800" i="0" dirty="0"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.</a:t>
            </a:r>
          </a:p>
          <a:p>
            <a:pPr marL="0" marR="0" lvl="0" indent="0" algn="l" defTabSz="1217531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fr-CA" sz="1800" i="0" dirty="0">
              <a:effectLst/>
              <a:latin typeface="Consolas" panose="020B0609020204030204" pitchFamily="49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marR="0" lvl="0" indent="0" algn="l" defTabSz="1217531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fr-CA" sz="1800" b="1" i="0" dirty="0"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	CLICK</a:t>
            </a:r>
          </a:p>
          <a:p>
            <a:pPr marL="0" marR="0" lvl="0" indent="0" algn="l" defTabSz="1217531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fr-CA" sz="1800" i="0" dirty="0">
              <a:effectLst/>
              <a:latin typeface="Consolas" panose="020B0609020204030204" pitchFamily="49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marR="0" lvl="0" indent="0" algn="l" defTabSz="1217531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fr-CA" sz="1800" i="0" dirty="0"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Comme tous les logiciels de l’entreprise, Terraform est open-sourc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167D0252-6604-46CB-B631-B7027F3046C2}" type="slidenum">
              <a:rPr lang="fr-CA" altLang="fr-FR" smtClean="0"/>
              <a:pPr>
                <a:defRPr/>
              </a:pPr>
              <a:t>11</a:t>
            </a:fld>
            <a:endParaRPr lang="fr-CA" altLang="fr-FR" dirty="0"/>
          </a:p>
        </p:txBody>
      </p:sp>
    </p:spTree>
    <p:extLst>
      <p:ext uri="{BB962C8B-B14F-4D97-AF65-F5344CB8AC3E}">
        <p14:creationId xmlns:p14="http://schemas.microsoft.com/office/powerpoint/2010/main" val="326335091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1217531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fr-CA" sz="1800" i="0" dirty="0"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Pourquoi choisir Terraform plutôt qu’un de ses concurrents?</a:t>
            </a:r>
          </a:p>
          <a:p>
            <a:pPr marL="607972" marR="0" lvl="1" indent="0" algn="l" defTabSz="1217531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fr-CA" sz="1800" i="0" dirty="0"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Pour son approche </a:t>
            </a:r>
            <a:r>
              <a:rPr lang="fr-CA" sz="1800" i="0" dirty="0" err="1"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multi-cloud</a:t>
            </a:r>
            <a:r>
              <a:rPr lang="fr-CA" sz="1800" i="0" dirty="0"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et cloud-</a:t>
            </a:r>
            <a:r>
              <a:rPr lang="fr-CA" sz="1800" i="0" dirty="0" err="1"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agnostic</a:t>
            </a:r>
            <a:r>
              <a:rPr lang="fr-CA" sz="1800" i="0" dirty="0"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,</a:t>
            </a:r>
          </a:p>
          <a:p>
            <a:pPr marL="607972" marR="0" lvl="1" indent="0" algn="l" defTabSz="1217531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fr-CA" sz="1800" i="0" dirty="0"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ce qui vous permettra de déployer aussi bien dans Azure, AWS ou dans n’importe quel autre fournisseur pour lequel il existe un connecteur</a:t>
            </a:r>
          </a:p>
          <a:p>
            <a:pPr lvl="1" algn="just">
              <a:lnSpc>
                <a:spcPct val="107000"/>
              </a:lnSpc>
              <a:spcAft>
                <a:spcPts val="800"/>
              </a:spcAft>
            </a:pPr>
            <a:r>
              <a:rPr lang="fr-CA" sz="1800" i="0" dirty="0"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dont bon nombre sont développés et maintenu par la communauté</a:t>
            </a:r>
          </a:p>
          <a:p>
            <a:pPr lvl="1" algn="just">
              <a:lnSpc>
                <a:spcPct val="107000"/>
              </a:lnSpc>
              <a:spcAft>
                <a:spcPts val="800"/>
              </a:spcAft>
            </a:pPr>
            <a:r>
              <a:rPr lang="fr-CA" sz="1800" i="0" dirty="0"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Et si vous ne trouvez pas votre bonheur, vous pourrez toujours développer votre connecteur !</a:t>
            </a:r>
          </a:p>
          <a:p>
            <a:pPr lvl="1" algn="just">
              <a:lnSpc>
                <a:spcPct val="107000"/>
              </a:lnSpc>
              <a:spcAft>
                <a:spcPts val="800"/>
              </a:spcAft>
            </a:pPr>
            <a:endParaRPr lang="fr-CA" sz="1800" i="0" dirty="0">
              <a:effectLst/>
              <a:latin typeface="Consolas" panose="020B0609020204030204" pitchFamily="49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lvl="1" algn="just">
              <a:lnSpc>
                <a:spcPct val="107000"/>
              </a:lnSpc>
              <a:spcAft>
                <a:spcPts val="800"/>
              </a:spcAft>
            </a:pPr>
            <a:r>
              <a:rPr lang="fr-CA" sz="1800" b="1" i="0" dirty="0"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	CLICK</a:t>
            </a:r>
          </a:p>
          <a:p>
            <a:pPr lvl="1" algn="just">
              <a:lnSpc>
                <a:spcPct val="107000"/>
              </a:lnSpc>
              <a:spcAft>
                <a:spcPts val="800"/>
              </a:spcAft>
            </a:pPr>
            <a:endParaRPr lang="fr-CA" sz="1800" b="1" i="0" dirty="0">
              <a:effectLst/>
              <a:latin typeface="Consolas" panose="020B0609020204030204" pitchFamily="49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lvl="1" algn="just">
              <a:lnSpc>
                <a:spcPct val="107000"/>
              </a:lnSpc>
              <a:spcAft>
                <a:spcPts val="800"/>
              </a:spcAft>
            </a:pPr>
            <a:r>
              <a:rPr lang="fr-CA" sz="1800" i="0" dirty="0"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Enfin pour les infrastructures existantes, </a:t>
            </a:r>
            <a:r>
              <a:rPr lang="fr-CA" sz="1800" i="0" dirty="0" err="1"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Terraform</a:t>
            </a:r>
            <a:r>
              <a:rPr lang="fr-CA" sz="1800" i="0" dirty="0"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offre la possibilité d’importer ou simplement d’accéder à celle-ci.</a:t>
            </a:r>
          </a:p>
          <a:p>
            <a:pPr lvl="1" algn="just">
              <a:lnSpc>
                <a:spcPct val="107000"/>
              </a:lnSpc>
              <a:spcAft>
                <a:spcPts val="800"/>
              </a:spcAft>
            </a:pPr>
            <a:endParaRPr lang="fr-CA" sz="1800" i="0" dirty="0">
              <a:effectLst/>
              <a:latin typeface="Consolas" panose="020B0609020204030204" pitchFamily="49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lvl="1" algn="just">
              <a:lnSpc>
                <a:spcPct val="107000"/>
              </a:lnSpc>
              <a:spcAft>
                <a:spcPts val="800"/>
              </a:spcAft>
            </a:pPr>
            <a:r>
              <a:rPr lang="fr-CA" sz="1800" b="1" i="0" dirty="0"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	CLICK</a:t>
            </a:r>
          </a:p>
          <a:p>
            <a:pPr lvl="1" algn="just">
              <a:lnSpc>
                <a:spcPct val="107000"/>
              </a:lnSpc>
              <a:spcAft>
                <a:spcPts val="800"/>
              </a:spcAft>
            </a:pPr>
            <a:endParaRPr lang="fr-CA" sz="1800" i="0" dirty="0">
              <a:effectLst/>
              <a:latin typeface="Consolas" panose="020B0609020204030204" pitchFamily="49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marR="0" lvl="0" indent="0" algn="l" defTabSz="1217531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fr-CA" sz="1800" i="0" dirty="0"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Rien n’est parfait en ce monde et il y a donc quelques défauts :</a:t>
            </a:r>
          </a:p>
          <a:p>
            <a:pPr marL="607972" marR="0" lvl="1" indent="0" algn="l" defTabSz="1217531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fr-CA" sz="1800" i="0" dirty="0"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Démarrage complexe : il faut du temps pour établir le 1</a:t>
            </a:r>
            <a:r>
              <a:rPr lang="fr-CA" sz="1800" i="0" baseline="30000" dirty="0"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er</a:t>
            </a:r>
            <a:r>
              <a:rPr lang="fr-CA" sz="1800" i="0" dirty="0"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approvisionnement.</a:t>
            </a:r>
          </a:p>
          <a:p>
            <a:pPr lvl="1" algn="just">
              <a:lnSpc>
                <a:spcPct val="107000"/>
              </a:lnSpc>
              <a:spcAft>
                <a:spcPts val="800"/>
              </a:spcAft>
            </a:pPr>
            <a:r>
              <a:rPr lang="fr-CA" sz="1800" i="0" dirty="0"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Une fois que le plan est appliqué, il n’y a pas de rollback possible, il faut modifier les scripts et provisionner à nouveau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167D0252-6604-46CB-B631-B7027F3046C2}" type="slidenum">
              <a:rPr lang="fr-CA" altLang="fr-FR" smtClean="0"/>
              <a:pPr>
                <a:defRPr/>
              </a:pPr>
              <a:t>12</a:t>
            </a:fld>
            <a:endParaRPr lang="fr-CA" altLang="fr-FR" dirty="0"/>
          </a:p>
        </p:txBody>
      </p:sp>
    </p:spTree>
    <p:extLst>
      <p:ext uri="{BB962C8B-B14F-4D97-AF65-F5344CB8AC3E}">
        <p14:creationId xmlns:p14="http://schemas.microsoft.com/office/powerpoint/2010/main" val="391773828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4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4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5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6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des matières">
    <p:bg>
      <p:bgPr>
        <a:solidFill>
          <a:srgbClr val="07072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Objet 3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588" y="1588"/>
            <a:ext cx="1587" cy="1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Freeform 5"/>
          <p:cNvSpPr>
            <a:spLocks/>
          </p:cNvSpPr>
          <p:nvPr userDrawn="1"/>
        </p:nvSpPr>
        <p:spPr bwMode="auto">
          <a:xfrm>
            <a:off x="4067175" y="2243138"/>
            <a:ext cx="0" cy="0"/>
          </a:xfrm>
          <a:custGeom>
            <a:avLst/>
            <a:gdLst>
              <a:gd name="T0" fmla="*/ 0 60000 65536"/>
              <a:gd name="T1" fmla="*/ 0 60000 65536"/>
              <a:gd name="T2" fmla="*/ 0 60000 65536"/>
            </a:gdLst>
            <a:ahLst/>
            <a:cxnLst>
              <a:cxn ang="T0">
                <a:pos x="0" y="0"/>
              </a:cxn>
              <a:cxn ang="T1">
                <a:pos x="0" y="0"/>
              </a:cxn>
              <a:cxn ang="T2">
                <a:pos x="0" y="0"/>
              </a:cxn>
            </a:cxnLst>
            <a:rect l="0" t="0" r="r" b="b"/>
            <a:pathLst>
              <a:path>
                <a:moveTo>
                  <a:pt x="0" y="0"/>
                </a:moveTo>
                <a:cubicBezTo>
                  <a:pt x="0" y="0"/>
                  <a:pt x="0" y="0"/>
                  <a:pt x="0" y="0"/>
                </a:cubicBezTo>
                <a:cubicBezTo>
                  <a:pt x="0" y="0"/>
                  <a:pt x="0" y="0"/>
                  <a:pt x="0" y="0"/>
                </a:cubicBezTo>
                <a:close/>
              </a:path>
            </a:pathLst>
          </a:custGeom>
          <a:solidFill>
            <a:srgbClr val="FFFFFF"/>
          </a:solidFill>
          <a:ln w="9525">
            <a:noFill/>
            <a:round/>
            <a:headEnd/>
            <a:tailEnd/>
          </a:ln>
        </p:spPr>
        <p:txBody>
          <a:bodyPr lIns="102363" tIns="51178" rIns="102363" bIns="51178"/>
          <a:lstStyle/>
          <a:p>
            <a:endParaRPr lang="en-GB" dirty="0"/>
          </a:p>
        </p:txBody>
      </p:sp>
      <p:sp>
        <p:nvSpPr>
          <p:cNvPr id="11" name="Freeform 6"/>
          <p:cNvSpPr>
            <a:spLocks/>
          </p:cNvSpPr>
          <p:nvPr userDrawn="1"/>
        </p:nvSpPr>
        <p:spPr bwMode="auto">
          <a:xfrm>
            <a:off x="4032250" y="1962150"/>
            <a:ext cx="0" cy="0"/>
          </a:xfrm>
          <a:custGeom>
            <a:avLst/>
            <a:gdLst>
              <a:gd name="T0" fmla="*/ 0 60000 65536"/>
              <a:gd name="T1" fmla="*/ 0 60000 65536"/>
              <a:gd name="T2" fmla="*/ 0 60000 65536"/>
            </a:gdLst>
            <a:ahLst/>
            <a:cxnLst>
              <a:cxn ang="T0">
                <a:pos x="0" y="0"/>
              </a:cxn>
              <a:cxn ang="T1">
                <a:pos x="0" y="0"/>
              </a:cxn>
              <a:cxn ang="T2">
                <a:pos x="0" y="0"/>
              </a:cxn>
            </a:cxnLst>
            <a:rect l="0" t="0" r="r" b="b"/>
            <a:pathLst>
              <a:path>
                <a:moveTo>
                  <a:pt x="0" y="0"/>
                </a:moveTo>
                <a:cubicBezTo>
                  <a:pt x="0" y="0"/>
                  <a:pt x="0" y="0"/>
                  <a:pt x="0" y="0"/>
                </a:cubicBezTo>
                <a:cubicBezTo>
                  <a:pt x="0" y="0"/>
                  <a:pt x="0" y="0"/>
                  <a:pt x="0" y="0"/>
                </a:cubicBezTo>
                <a:close/>
              </a:path>
            </a:pathLst>
          </a:custGeom>
          <a:solidFill>
            <a:srgbClr val="FFFFFF"/>
          </a:solidFill>
          <a:ln w="9525">
            <a:noFill/>
            <a:round/>
            <a:headEnd/>
            <a:tailEnd/>
          </a:ln>
        </p:spPr>
        <p:txBody>
          <a:bodyPr lIns="102363" tIns="51178" rIns="102363" bIns="51178"/>
          <a:lstStyle/>
          <a:p>
            <a:endParaRPr lang="en-GB" dirty="0"/>
          </a:p>
        </p:txBody>
      </p:sp>
      <p:sp>
        <p:nvSpPr>
          <p:cNvPr id="27" name="Espace réservé du numéro de diapositive 26">
            <a:extLst>
              <a:ext uri="{FF2B5EF4-FFF2-40B4-BE49-F238E27FC236}">
                <a16:creationId xmlns:a16="http://schemas.microsoft.com/office/drawing/2014/main" id="{2DEBE434-B189-41F7-9989-933C9601248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11570195" y="6454130"/>
            <a:ext cx="539750" cy="335892"/>
          </a:xfrm>
          <a:prstGeom prst="rect">
            <a:avLst/>
          </a:prstGeom>
        </p:spPr>
        <p:txBody>
          <a:bodyPr lIns="91434" tIns="45717" rIns="91434" bIns="45717" anchor="b" anchorCtr="0"/>
          <a:lstStyle>
            <a:lvl1pPr>
              <a:defRPr sz="800">
                <a:solidFill>
                  <a:srgbClr val="B1BFD3"/>
                </a:solidFill>
                <a:latin typeface="Century Gothic" panose="020B0502020202020204" pitchFamily="34" charset="0"/>
              </a:defRPr>
            </a:lvl1pPr>
          </a:lstStyle>
          <a:p>
            <a:pPr algn="r">
              <a:defRPr/>
            </a:pPr>
            <a:fld id="{89AA4CF2-98ED-4480-867D-4533B78D23B5}" type="slidenum">
              <a:rPr lang="fr-CA" altLang="fr-FR" smtClean="0"/>
              <a:pPr algn="r">
                <a:defRPr/>
              </a:pPr>
              <a:t>‹#›</a:t>
            </a:fld>
            <a:endParaRPr lang="fr-CA" altLang="fr-FR" dirty="0"/>
          </a:p>
        </p:txBody>
      </p:sp>
      <p:sp>
        <p:nvSpPr>
          <p:cNvPr id="8" name="Espace réservé du texte 8">
            <a:extLst>
              <a:ext uri="{FF2B5EF4-FFF2-40B4-BE49-F238E27FC236}">
                <a16:creationId xmlns:a16="http://schemas.microsoft.com/office/drawing/2014/main" id="{AE751009-5414-4877-A666-449EB465F0A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92931" y="237296"/>
            <a:ext cx="7488832" cy="432047"/>
          </a:xfrm>
        </p:spPr>
        <p:txBody>
          <a:bodyPr anchor="b" anchorCtr="0"/>
          <a:lstStyle>
            <a:lvl1pPr>
              <a:defRPr sz="2400">
                <a:solidFill>
                  <a:srgbClr val="B3C3D8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fr-CA" dirty="0"/>
              <a:t>Titre de slide</a:t>
            </a:r>
          </a:p>
        </p:txBody>
      </p:sp>
    </p:spTree>
    <p:extLst>
      <p:ext uri="{BB962C8B-B14F-4D97-AF65-F5344CB8AC3E}">
        <p14:creationId xmlns:p14="http://schemas.microsoft.com/office/powerpoint/2010/main" val="80752313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age texte avec photo - fond coul.">
    <p:bg>
      <p:bgPr>
        <a:solidFill>
          <a:srgbClr val="D1A69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pour une image  4">
            <a:extLst>
              <a:ext uri="{FF2B5EF4-FFF2-40B4-BE49-F238E27FC236}">
                <a16:creationId xmlns:a16="http://schemas.microsoft.com/office/drawing/2014/main" id="{4F3424CD-D2E5-4B68-A580-74569ED887ED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097589" y="1"/>
            <a:ext cx="6089649" cy="6873875"/>
          </a:xfrm>
        </p:spPr>
        <p:txBody>
          <a:bodyPr/>
          <a:lstStyle/>
          <a:p>
            <a:r>
              <a:rPr lang="fr-FR" dirty="0"/>
              <a:t>Cliquez sur l'icône pour ajouter une image</a:t>
            </a:r>
            <a:endParaRPr lang="fr-CA" dirty="0"/>
          </a:p>
        </p:txBody>
      </p:sp>
      <p:pic>
        <p:nvPicPr>
          <p:cNvPr id="6" name="Objet 3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588" y="1588"/>
            <a:ext cx="1587" cy="1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Freeform 5"/>
          <p:cNvSpPr>
            <a:spLocks/>
          </p:cNvSpPr>
          <p:nvPr userDrawn="1"/>
        </p:nvSpPr>
        <p:spPr bwMode="auto">
          <a:xfrm>
            <a:off x="4067175" y="2243138"/>
            <a:ext cx="0" cy="0"/>
          </a:xfrm>
          <a:custGeom>
            <a:avLst/>
            <a:gdLst>
              <a:gd name="T0" fmla="*/ 0 60000 65536"/>
              <a:gd name="T1" fmla="*/ 0 60000 65536"/>
              <a:gd name="T2" fmla="*/ 0 60000 65536"/>
            </a:gdLst>
            <a:ahLst/>
            <a:cxnLst>
              <a:cxn ang="T0">
                <a:pos x="0" y="0"/>
              </a:cxn>
              <a:cxn ang="T1">
                <a:pos x="0" y="0"/>
              </a:cxn>
              <a:cxn ang="T2">
                <a:pos x="0" y="0"/>
              </a:cxn>
            </a:cxnLst>
            <a:rect l="0" t="0" r="r" b="b"/>
            <a:pathLst>
              <a:path>
                <a:moveTo>
                  <a:pt x="0" y="0"/>
                </a:moveTo>
                <a:cubicBezTo>
                  <a:pt x="0" y="0"/>
                  <a:pt x="0" y="0"/>
                  <a:pt x="0" y="0"/>
                </a:cubicBezTo>
                <a:cubicBezTo>
                  <a:pt x="0" y="0"/>
                  <a:pt x="0" y="0"/>
                  <a:pt x="0" y="0"/>
                </a:cubicBezTo>
                <a:close/>
              </a:path>
            </a:pathLst>
          </a:custGeom>
          <a:solidFill>
            <a:srgbClr val="FFFFFF"/>
          </a:solidFill>
          <a:ln w="9525">
            <a:noFill/>
            <a:round/>
            <a:headEnd/>
            <a:tailEnd/>
          </a:ln>
        </p:spPr>
        <p:txBody>
          <a:bodyPr lIns="102363" tIns="51178" rIns="102363" bIns="51178"/>
          <a:lstStyle/>
          <a:p>
            <a:endParaRPr lang="en-GB" dirty="0"/>
          </a:p>
        </p:txBody>
      </p:sp>
      <p:sp>
        <p:nvSpPr>
          <p:cNvPr id="11" name="Freeform 6"/>
          <p:cNvSpPr>
            <a:spLocks/>
          </p:cNvSpPr>
          <p:nvPr userDrawn="1"/>
        </p:nvSpPr>
        <p:spPr bwMode="auto">
          <a:xfrm>
            <a:off x="4032250" y="1962150"/>
            <a:ext cx="0" cy="0"/>
          </a:xfrm>
          <a:custGeom>
            <a:avLst/>
            <a:gdLst>
              <a:gd name="T0" fmla="*/ 0 60000 65536"/>
              <a:gd name="T1" fmla="*/ 0 60000 65536"/>
              <a:gd name="T2" fmla="*/ 0 60000 65536"/>
            </a:gdLst>
            <a:ahLst/>
            <a:cxnLst>
              <a:cxn ang="T0">
                <a:pos x="0" y="0"/>
              </a:cxn>
              <a:cxn ang="T1">
                <a:pos x="0" y="0"/>
              </a:cxn>
              <a:cxn ang="T2">
                <a:pos x="0" y="0"/>
              </a:cxn>
            </a:cxnLst>
            <a:rect l="0" t="0" r="r" b="b"/>
            <a:pathLst>
              <a:path>
                <a:moveTo>
                  <a:pt x="0" y="0"/>
                </a:moveTo>
                <a:cubicBezTo>
                  <a:pt x="0" y="0"/>
                  <a:pt x="0" y="0"/>
                  <a:pt x="0" y="0"/>
                </a:cubicBezTo>
                <a:cubicBezTo>
                  <a:pt x="0" y="0"/>
                  <a:pt x="0" y="0"/>
                  <a:pt x="0" y="0"/>
                </a:cubicBezTo>
                <a:close/>
              </a:path>
            </a:pathLst>
          </a:custGeom>
          <a:solidFill>
            <a:srgbClr val="FFFFFF"/>
          </a:solidFill>
          <a:ln w="9525">
            <a:noFill/>
            <a:round/>
            <a:headEnd/>
            <a:tailEnd/>
          </a:ln>
        </p:spPr>
        <p:txBody>
          <a:bodyPr lIns="102363" tIns="51178" rIns="102363" bIns="51178"/>
          <a:lstStyle/>
          <a:p>
            <a:endParaRPr lang="en-GB" dirty="0"/>
          </a:p>
        </p:txBody>
      </p:sp>
      <p:sp>
        <p:nvSpPr>
          <p:cNvPr id="27" name="Espace réservé du numéro de diapositive 26">
            <a:extLst>
              <a:ext uri="{FF2B5EF4-FFF2-40B4-BE49-F238E27FC236}">
                <a16:creationId xmlns:a16="http://schemas.microsoft.com/office/drawing/2014/main" id="{2DEBE434-B189-41F7-9989-933C9601248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10752228" y="333451"/>
            <a:ext cx="539750" cy="335892"/>
          </a:xfrm>
          <a:prstGeom prst="rect">
            <a:avLst/>
          </a:prstGeom>
        </p:spPr>
        <p:txBody>
          <a:bodyPr lIns="91434" tIns="45717" rIns="91434" bIns="45717" anchor="b" anchorCtr="0"/>
          <a:lstStyle>
            <a:lvl1pPr>
              <a:defRPr sz="800">
                <a:solidFill>
                  <a:srgbClr val="222644"/>
                </a:solidFill>
                <a:latin typeface="Century Gothic" panose="020B0502020202020204" pitchFamily="34" charset="0"/>
              </a:defRPr>
            </a:lvl1pPr>
          </a:lstStyle>
          <a:p>
            <a:pPr algn="r">
              <a:defRPr/>
            </a:pPr>
            <a:fld id="{89AA4CF2-98ED-4480-867D-4533B78D23B5}" type="slidenum">
              <a:rPr lang="fr-CA" altLang="fr-FR" smtClean="0"/>
              <a:pPr algn="r">
                <a:defRPr/>
              </a:pPr>
              <a:t>‹#›</a:t>
            </a:fld>
            <a:endParaRPr lang="fr-CA" altLang="fr-FR" dirty="0"/>
          </a:p>
        </p:txBody>
      </p:sp>
      <p:sp>
        <p:nvSpPr>
          <p:cNvPr id="28" name="Espace réservé du numéro de diapositive 2">
            <a:extLst>
              <a:ext uri="{FF2B5EF4-FFF2-40B4-BE49-F238E27FC236}">
                <a16:creationId xmlns:a16="http://schemas.microsoft.com/office/drawing/2014/main" id="{E2BDDB7F-3333-473B-98EA-3CB197EAF1F5}"/>
              </a:ext>
            </a:extLst>
          </p:cNvPr>
          <p:cNvSpPr txBox="1">
            <a:spLocks/>
          </p:cNvSpPr>
          <p:nvPr userDrawn="1"/>
        </p:nvSpPr>
        <p:spPr>
          <a:xfrm>
            <a:off x="616397" y="6510338"/>
            <a:ext cx="539750" cy="363537"/>
          </a:xfrm>
          <a:prstGeom prst="rect">
            <a:avLst/>
          </a:prstGeom>
        </p:spPr>
        <p:txBody>
          <a:bodyPr vert="horz" wrap="square" lIns="120902" tIns="60451" rIns="120902" bIns="60451" numCol="1" anchor="ctr" anchorCtr="0" compatLnSpc="1">
            <a:prstTxWarp prst="textNoShape">
              <a:avLst/>
            </a:prstTxWarp>
            <a:noAutofit/>
          </a:bodyPr>
          <a:lstStyle>
            <a:defPPr>
              <a:defRPr lang="fr-FR"/>
            </a:defPPr>
            <a:lvl1pPr algn="l" defTabSz="1217613" rtl="0" eaLnBrk="1" fontAlgn="base" hangingPunct="1">
              <a:spcBef>
                <a:spcPct val="0"/>
              </a:spcBef>
              <a:spcAft>
                <a:spcPct val="0"/>
              </a:spcAft>
              <a:defRPr sz="900" kern="1200" smtClean="0">
                <a:solidFill>
                  <a:schemeClr val="bg1">
                    <a:lumMod val="7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08013" indent="-150813" algn="l" defTabSz="1217613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2pPr>
            <a:lvl3pPr marL="1217613" indent="-303213" algn="l" defTabSz="1217613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3pPr>
            <a:lvl4pPr marL="1827213" indent="-455613" algn="l" defTabSz="1217613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4pPr>
            <a:lvl5pPr marL="2436813" indent="-608013" algn="l" defTabSz="1217613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9pPr>
          </a:lstStyle>
          <a:p>
            <a:pPr>
              <a:defRPr/>
            </a:pPr>
            <a:fld id="{5C78C233-16E4-40EE-8E77-456E7AF3EE9A}" type="slidenum">
              <a:rPr lang="fr-CA" altLang="fr-FR" smtClean="0"/>
              <a:pPr>
                <a:defRPr/>
              </a:pPr>
              <a:t>‹#›</a:t>
            </a:fld>
            <a:endParaRPr lang="fr-CA" altLang="fr-FR" dirty="0"/>
          </a:p>
        </p:txBody>
      </p:sp>
      <p:sp>
        <p:nvSpPr>
          <p:cNvPr id="16" name="Espace réservé du contenu 16">
            <a:extLst>
              <a:ext uri="{FF2B5EF4-FFF2-40B4-BE49-F238E27FC236}">
                <a16:creationId xmlns:a16="http://schemas.microsoft.com/office/drawing/2014/main" id="{F9E433C0-A231-4AC8-B431-1E603782C983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877044" y="1054101"/>
            <a:ext cx="5220544" cy="2663725"/>
          </a:xfrm>
        </p:spPr>
        <p:txBody>
          <a:bodyPr anchor="t" anchorCtr="0"/>
          <a:lstStyle>
            <a:lvl1pPr algn="l">
              <a:defRPr sz="400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fr-CA" dirty="0"/>
              <a:t>Page texte avec </a:t>
            </a:r>
          </a:p>
          <a:p>
            <a:pPr lvl="0"/>
            <a:r>
              <a:rPr lang="fr-CA" dirty="0"/>
              <a:t>long titre et photo </a:t>
            </a:r>
          </a:p>
          <a:p>
            <a:pPr lvl="0"/>
            <a:r>
              <a:rPr lang="fr-CA" dirty="0" err="1"/>
              <a:t>lorem</a:t>
            </a:r>
            <a:r>
              <a:rPr lang="fr-CA" dirty="0"/>
              <a:t> ipsum </a:t>
            </a:r>
            <a:r>
              <a:rPr lang="fr-CA" dirty="0" err="1"/>
              <a:t>dolor</a:t>
            </a:r>
            <a:endParaRPr lang="fr-CA" dirty="0"/>
          </a:p>
          <a:p>
            <a:pPr lvl="0"/>
            <a:r>
              <a:rPr lang="fr-CA" dirty="0" err="1"/>
              <a:t>sit</a:t>
            </a:r>
            <a:r>
              <a:rPr lang="fr-CA" dirty="0"/>
              <a:t> </a:t>
            </a:r>
            <a:r>
              <a:rPr lang="fr-CA" dirty="0" err="1"/>
              <a:t>amet</a:t>
            </a:r>
            <a:r>
              <a:rPr lang="fr-CA" dirty="0"/>
              <a:t>.</a:t>
            </a:r>
          </a:p>
        </p:txBody>
      </p:sp>
      <p:sp>
        <p:nvSpPr>
          <p:cNvPr id="18" name="Espace réservé du contenu 14">
            <a:extLst>
              <a:ext uri="{FF2B5EF4-FFF2-40B4-BE49-F238E27FC236}">
                <a16:creationId xmlns:a16="http://schemas.microsoft.com/office/drawing/2014/main" id="{CCF9C410-A114-49A4-86C9-FB034EA7D3AE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913013" y="3789833"/>
            <a:ext cx="5184575" cy="2592288"/>
          </a:xfrm>
        </p:spPr>
        <p:txBody>
          <a:bodyPr numCol="1"/>
          <a:lstStyle>
            <a:lvl1pPr algn="l" rtl="0">
              <a:defRPr lang="en-GB" sz="1200" b="0" i="0" u="none" strike="noStrike" baseline="30000" smtClean="0"/>
            </a:lvl1pPr>
          </a:lstStyle>
          <a:p>
            <a:pPr rtl="0"/>
            <a:r>
              <a:rPr lang="en-GB" sz="2300" b="0" i="0" u="none" strike="noStrike" baseline="30000" dirty="0" err="1">
                <a:solidFill>
                  <a:srgbClr val="08082B"/>
                </a:solidFill>
                <a:latin typeface="Century Gothic" panose="020B0502020202020204" pitchFamily="34" charset="0"/>
              </a:rPr>
              <a:t>Equam</a:t>
            </a:r>
            <a:r>
              <a:rPr lang="en-GB" sz="2300" b="0" i="0" u="none" strike="noStrike" baseline="30000" dirty="0">
                <a:solidFill>
                  <a:srgbClr val="08082B"/>
                </a:solidFill>
                <a:latin typeface="Century Gothic" panose="020B0502020202020204" pitchFamily="34" charset="0"/>
              </a:rPr>
              <a:t> re </a:t>
            </a:r>
            <a:r>
              <a:rPr lang="en-GB" sz="2300" b="0" i="0" u="none" strike="noStrike" baseline="30000" dirty="0" err="1">
                <a:solidFill>
                  <a:srgbClr val="08082B"/>
                </a:solidFill>
                <a:latin typeface="Century Gothic" panose="020B0502020202020204" pitchFamily="34" charset="0"/>
              </a:rPr>
              <a:t>laboriatiis</a:t>
            </a:r>
            <a:r>
              <a:rPr lang="en-GB" sz="2300" b="0" i="0" u="none" strike="noStrike" baseline="30000" dirty="0">
                <a:solidFill>
                  <a:srgbClr val="08082B"/>
                </a:solidFill>
                <a:latin typeface="Century Gothic" panose="020B0502020202020204" pitchFamily="34" charset="0"/>
              </a:rPr>
              <a:t> </a:t>
            </a:r>
            <a:r>
              <a:rPr lang="en-GB" sz="2300" b="0" i="0" u="none" strike="noStrike" baseline="30000" dirty="0" err="1">
                <a:solidFill>
                  <a:srgbClr val="08082B"/>
                </a:solidFill>
                <a:latin typeface="Century Gothic" panose="020B0502020202020204" pitchFamily="34" charset="0"/>
              </a:rPr>
              <a:t>moluptat</a:t>
            </a:r>
            <a:r>
              <a:rPr lang="en-GB" sz="2300" b="0" i="0" u="none" strike="noStrike" baseline="30000" dirty="0">
                <a:solidFill>
                  <a:srgbClr val="08082B"/>
                </a:solidFill>
                <a:latin typeface="Century Gothic" panose="020B0502020202020204" pitchFamily="34" charset="0"/>
              </a:rPr>
              <a:t> </a:t>
            </a:r>
            <a:r>
              <a:rPr lang="en-GB" sz="2300" b="0" i="0" u="none" strike="noStrike" baseline="30000" dirty="0" err="1">
                <a:solidFill>
                  <a:srgbClr val="08082B"/>
                </a:solidFill>
                <a:latin typeface="Century Gothic" panose="020B0502020202020204" pitchFamily="34" charset="0"/>
              </a:rPr>
              <a:t>restiam</a:t>
            </a:r>
            <a:r>
              <a:rPr lang="en-GB" sz="2300" b="0" i="0" u="none" strike="noStrike" baseline="30000" dirty="0">
                <a:solidFill>
                  <a:srgbClr val="08082B"/>
                </a:solidFill>
                <a:latin typeface="Century Gothic" panose="020B0502020202020204" pitchFamily="34" charset="0"/>
              </a:rPr>
              <a:t>, que </a:t>
            </a:r>
            <a:r>
              <a:rPr lang="en-GB" sz="2300" b="0" i="0" u="none" strike="noStrike" baseline="30000" dirty="0" err="1">
                <a:solidFill>
                  <a:srgbClr val="08082B"/>
                </a:solidFill>
                <a:latin typeface="Century Gothic" panose="020B0502020202020204" pitchFamily="34" charset="0"/>
              </a:rPr>
              <a:t>labo</a:t>
            </a:r>
            <a:r>
              <a:rPr lang="en-GB" sz="2300" b="0" i="0" u="none" strike="noStrike" baseline="30000" dirty="0">
                <a:solidFill>
                  <a:srgbClr val="08082B"/>
                </a:solidFill>
                <a:latin typeface="Century Gothic" panose="020B0502020202020204" pitchFamily="34" charset="0"/>
              </a:rPr>
              <a:t>. </a:t>
            </a:r>
            <a:r>
              <a:rPr lang="en-GB" sz="2300" b="0" i="0" u="none" strike="noStrike" baseline="30000" dirty="0" err="1">
                <a:solidFill>
                  <a:srgbClr val="08082B"/>
                </a:solidFill>
                <a:latin typeface="Century Gothic" panose="020B0502020202020204" pitchFamily="34" charset="0"/>
              </a:rPr>
              <a:t>Enimus</a:t>
            </a:r>
            <a:r>
              <a:rPr lang="en-GB" sz="2300" b="0" i="0" u="none" strike="noStrike" baseline="30000" dirty="0">
                <a:solidFill>
                  <a:srgbClr val="08082B"/>
                </a:solidFill>
                <a:latin typeface="Century Gothic" panose="020B0502020202020204" pitchFamily="34" charset="0"/>
              </a:rPr>
              <a:t> </a:t>
            </a:r>
            <a:br>
              <a:rPr lang="en-GB" sz="2300" b="0" i="0" u="none" strike="noStrike" baseline="30000" dirty="0">
                <a:solidFill>
                  <a:srgbClr val="08082B"/>
                </a:solidFill>
                <a:latin typeface="Century Gothic" panose="020B0502020202020204" pitchFamily="34" charset="0"/>
              </a:rPr>
            </a:br>
            <a:r>
              <a:rPr lang="en-GB" sz="2300" b="0" i="0" u="none" strike="noStrike" baseline="30000" dirty="0" err="1">
                <a:solidFill>
                  <a:srgbClr val="08082B"/>
                </a:solidFill>
                <a:latin typeface="Century Gothic" panose="020B0502020202020204" pitchFamily="34" charset="0"/>
              </a:rPr>
              <a:t>estio</a:t>
            </a:r>
            <a:r>
              <a:rPr lang="en-GB" sz="2300" b="0" i="0" u="none" strike="noStrike" baseline="30000" dirty="0">
                <a:solidFill>
                  <a:srgbClr val="08082B"/>
                </a:solidFill>
                <a:latin typeface="Century Gothic" panose="020B0502020202020204" pitchFamily="34" charset="0"/>
              </a:rPr>
              <a:t> </a:t>
            </a:r>
            <a:r>
              <a:rPr lang="en-GB" sz="2300" b="0" i="0" u="none" strike="noStrike" baseline="30000" dirty="0" err="1">
                <a:solidFill>
                  <a:srgbClr val="08082B"/>
                </a:solidFill>
                <a:latin typeface="Century Gothic" panose="020B0502020202020204" pitchFamily="34" charset="0"/>
              </a:rPr>
              <a:t>ilic</a:t>
            </a:r>
            <a:r>
              <a:rPr lang="en-GB" sz="2300" b="0" i="0" u="none" strike="noStrike" baseline="30000" dirty="0">
                <a:solidFill>
                  <a:srgbClr val="08082B"/>
                </a:solidFill>
                <a:latin typeface="Century Gothic" panose="020B0502020202020204" pitchFamily="34" charset="0"/>
              </a:rPr>
              <a:t> </a:t>
            </a:r>
            <a:r>
              <a:rPr lang="en-GB" sz="2300" b="0" i="0" u="none" strike="noStrike" baseline="30000" dirty="0" err="1">
                <a:solidFill>
                  <a:srgbClr val="08082B"/>
                </a:solidFill>
                <a:latin typeface="Century Gothic" panose="020B0502020202020204" pitchFamily="34" charset="0"/>
              </a:rPr>
              <a:t>tectatecab</a:t>
            </a:r>
            <a:r>
              <a:rPr lang="en-GB" sz="2300" b="0" i="0" u="none" strike="noStrike" baseline="30000" dirty="0">
                <a:solidFill>
                  <a:srgbClr val="08082B"/>
                </a:solidFill>
                <a:latin typeface="Century Gothic" panose="020B0502020202020204" pitchFamily="34" charset="0"/>
              </a:rPr>
              <a:t> in </a:t>
            </a:r>
            <a:r>
              <a:rPr lang="en-GB" sz="2300" b="0" i="0" u="none" strike="noStrike" baseline="30000" dirty="0" err="1">
                <a:solidFill>
                  <a:srgbClr val="08082B"/>
                </a:solidFill>
                <a:latin typeface="Century Gothic" panose="020B0502020202020204" pitchFamily="34" charset="0"/>
              </a:rPr>
              <a:t>eum</a:t>
            </a:r>
            <a:r>
              <a:rPr lang="en-GB" sz="2300" b="0" i="0" u="none" strike="noStrike" baseline="30000" dirty="0">
                <a:solidFill>
                  <a:srgbClr val="08082B"/>
                </a:solidFill>
                <a:latin typeface="Century Gothic" panose="020B0502020202020204" pitchFamily="34" charset="0"/>
              </a:rPr>
              <a:t> quid </a:t>
            </a:r>
            <a:r>
              <a:rPr lang="en-GB" sz="2300" b="0" i="0" u="none" strike="noStrike" baseline="30000" dirty="0" err="1">
                <a:solidFill>
                  <a:srgbClr val="08082B"/>
                </a:solidFill>
                <a:latin typeface="Century Gothic" panose="020B0502020202020204" pitchFamily="34" charset="0"/>
              </a:rPr>
              <a:t>experi</a:t>
            </a:r>
            <a:r>
              <a:rPr lang="en-GB" sz="2300" b="0" i="0" u="none" strike="noStrike" baseline="30000" dirty="0">
                <a:solidFill>
                  <a:srgbClr val="08082B"/>
                </a:solidFill>
                <a:latin typeface="Century Gothic" panose="020B0502020202020204" pitchFamily="34" charset="0"/>
              </a:rPr>
              <a:t> con </a:t>
            </a:r>
            <a:r>
              <a:rPr lang="en-GB" sz="2300" b="0" i="0" u="none" strike="noStrike" baseline="30000" dirty="0" err="1">
                <a:solidFill>
                  <a:srgbClr val="08082B"/>
                </a:solidFill>
                <a:latin typeface="Century Gothic" panose="020B0502020202020204" pitchFamily="34" charset="0"/>
              </a:rPr>
              <a:t>nulum</a:t>
            </a:r>
            <a:r>
              <a:rPr lang="en-GB" sz="2300" b="0" i="0" u="none" strike="noStrike" baseline="30000" dirty="0">
                <a:solidFill>
                  <a:srgbClr val="08082B"/>
                </a:solidFill>
                <a:latin typeface="Century Gothic" panose="020B0502020202020204" pitchFamily="34" charset="0"/>
              </a:rPr>
              <a:t> </a:t>
            </a:r>
            <a:r>
              <a:rPr lang="en-GB" sz="2300" b="0" i="0" u="none" strike="noStrike" baseline="30000" dirty="0" err="1">
                <a:solidFill>
                  <a:srgbClr val="08082B"/>
                </a:solidFill>
                <a:latin typeface="Century Gothic" panose="020B0502020202020204" pitchFamily="34" charset="0"/>
              </a:rPr>
              <a:t>ea</a:t>
            </a:r>
            <a:r>
              <a:rPr lang="en-GB" sz="2300" b="0" i="0" u="none" strike="noStrike" baseline="30000" dirty="0">
                <a:solidFill>
                  <a:srgbClr val="08082B"/>
                </a:solidFill>
                <a:latin typeface="Century Gothic" panose="020B0502020202020204" pitchFamily="34" charset="0"/>
              </a:rPr>
              <a:t> </a:t>
            </a:r>
            <a:br>
              <a:rPr lang="en-GB" sz="2300" b="0" i="0" u="none" strike="noStrike" baseline="30000" dirty="0">
                <a:solidFill>
                  <a:srgbClr val="08082B"/>
                </a:solidFill>
                <a:latin typeface="Century Gothic" panose="020B0502020202020204" pitchFamily="34" charset="0"/>
              </a:rPr>
            </a:br>
            <a:r>
              <a:rPr lang="en-GB" sz="2300" b="0" i="0" u="none" strike="noStrike" baseline="30000" dirty="0">
                <a:solidFill>
                  <a:srgbClr val="08082B"/>
                </a:solidFill>
                <a:latin typeface="Century Gothic" panose="020B0502020202020204" pitchFamily="34" charset="0"/>
              </a:rPr>
              <a:t>que </a:t>
            </a:r>
            <a:r>
              <a:rPr lang="en-GB" sz="2300" b="0" i="0" u="none" strike="noStrike" baseline="30000" dirty="0" err="1">
                <a:solidFill>
                  <a:srgbClr val="08082B"/>
                </a:solidFill>
                <a:latin typeface="Century Gothic" panose="020B0502020202020204" pitchFamily="34" charset="0"/>
              </a:rPr>
              <a:t>nos</a:t>
            </a:r>
            <a:r>
              <a:rPr lang="en-GB" sz="2300" b="0" i="0" u="none" strike="noStrike" baseline="30000" dirty="0">
                <a:solidFill>
                  <a:srgbClr val="08082B"/>
                </a:solidFill>
                <a:latin typeface="Century Gothic" panose="020B0502020202020204" pitchFamily="34" charset="0"/>
              </a:rPr>
              <a:t> </a:t>
            </a:r>
            <a:r>
              <a:rPr lang="en-GB" sz="2300" b="0" i="0" u="none" strike="noStrike" baseline="30000" dirty="0" err="1">
                <a:solidFill>
                  <a:srgbClr val="08082B"/>
                </a:solidFill>
                <a:latin typeface="Century Gothic" panose="020B0502020202020204" pitchFamily="34" charset="0"/>
              </a:rPr>
              <a:t>rerit</a:t>
            </a:r>
            <a:r>
              <a:rPr lang="en-GB" sz="2300" b="0" i="0" u="none" strike="noStrike" baseline="30000" dirty="0">
                <a:solidFill>
                  <a:srgbClr val="08082B"/>
                </a:solidFill>
                <a:latin typeface="Century Gothic" panose="020B0502020202020204" pitchFamily="34" charset="0"/>
              </a:rPr>
              <a:t> quid </a:t>
            </a:r>
            <a:r>
              <a:rPr lang="en-GB" sz="2300" b="0" i="0" u="none" strike="noStrike" baseline="30000" dirty="0" err="1">
                <a:solidFill>
                  <a:srgbClr val="08082B"/>
                </a:solidFill>
                <a:latin typeface="Century Gothic" panose="020B0502020202020204" pitchFamily="34" charset="0"/>
              </a:rPr>
              <a:t>quatur</a:t>
            </a:r>
            <a:r>
              <a:rPr lang="en-GB" sz="2300" b="0" i="0" u="none" strike="noStrike" baseline="30000" dirty="0">
                <a:solidFill>
                  <a:srgbClr val="08082B"/>
                </a:solidFill>
                <a:latin typeface="Century Gothic" panose="020B0502020202020204" pitchFamily="34" charset="0"/>
              </a:rPr>
              <a:t> </a:t>
            </a:r>
            <a:r>
              <a:rPr lang="en-GB" sz="2300" b="0" i="0" u="none" strike="noStrike" baseline="30000" dirty="0" err="1">
                <a:solidFill>
                  <a:srgbClr val="08082B"/>
                </a:solidFill>
                <a:latin typeface="Century Gothic" panose="020B0502020202020204" pitchFamily="34" charset="0"/>
              </a:rPr>
              <a:t>aut</a:t>
            </a:r>
            <a:r>
              <a:rPr lang="en-GB" sz="2300" b="0" i="0" u="none" strike="noStrike" baseline="30000" dirty="0">
                <a:solidFill>
                  <a:srgbClr val="08082B"/>
                </a:solidFill>
                <a:latin typeface="Century Gothic" panose="020B0502020202020204" pitchFamily="34" charset="0"/>
              </a:rPr>
              <a:t> </a:t>
            </a:r>
            <a:r>
              <a:rPr lang="en-GB" sz="2300" b="0" i="0" u="none" strike="noStrike" baseline="30000" dirty="0" err="1">
                <a:solidFill>
                  <a:srgbClr val="08082B"/>
                </a:solidFill>
                <a:latin typeface="Century Gothic" panose="020B0502020202020204" pitchFamily="34" charset="0"/>
              </a:rPr>
              <a:t>laborer</a:t>
            </a:r>
            <a:r>
              <a:rPr lang="en-GB" sz="2300" b="0" i="0" u="none" strike="noStrike" baseline="30000" dirty="0">
                <a:solidFill>
                  <a:srgbClr val="08082B"/>
                </a:solidFill>
                <a:latin typeface="Century Gothic" panose="020B0502020202020204" pitchFamily="34" charset="0"/>
              </a:rPr>
              <a:t> </a:t>
            </a:r>
            <a:r>
              <a:rPr lang="en-GB" sz="2300" b="0" i="0" u="none" strike="noStrike" baseline="30000" dirty="0" err="1">
                <a:solidFill>
                  <a:srgbClr val="08082B"/>
                </a:solidFill>
                <a:latin typeface="Century Gothic" panose="020B0502020202020204" pitchFamily="34" charset="0"/>
              </a:rPr>
              <a:t>oressec</a:t>
            </a:r>
            <a:r>
              <a:rPr lang="en-GB" sz="2300" b="0" i="0" u="none" strike="noStrike" baseline="30000" dirty="0">
                <a:solidFill>
                  <a:srgbClr val="08082B"/>
                </a:solidFill>
                <a:latin typeface="Century Gothic" panose="020B0502020202020204" pitchFamily="34" charset="0"/>
              </a:rPr>
              <a:t> </a:t>
            </a:r>
            <a:r>
              <a:rPr lang="en-GB" sz="2300" b="0" i="0" u="none" strike="noStrike" baseline="30000" dirty="0" err="1">
                <a:solidFill>
                  <a:srgbClr val="08082B"/>
                </a:solidFill>
                <a:latin typeface="Century Gothic" panose="020B0502020202020204" pitchFamily="34" charset="0"/>
              </a:rPr>
              <a:t>tatur</a:t>
            </a:r>
            <a:r>
              <a:rPr lang="en-GB" sz="2300" b="0" i="0" u="none" strike="noStrike" baseline="30000" dirty="0">
                <a:solidFill>
                  <a:srgbClr val="08082B"/>
                </a:solidFill>
                <a:latin typeface="Century Gothic" panose="020B0502020202020204" pitchFamily="34" charset="0"/>
              </a:rPr>
              <a:t>, sim </a:t>
            </a:r>
            <a:br>
              <a:rPr lang="en-GB" sz="2300" b="0" i="0" u="none" strike="noStrike" baseline="30000" dirty="0">
                <a:solidFill>
                  <a:srgbClr val="08082B"/>
                </a:solidFill>
                <a:latin typeface="Century Gothic" panose="020B0502020202020204" pitchFamily="34" charset="0"/>
              </a:rPr>
            </a:br>
            <a:r>
              <a:rPr lang="en-GB" sz="2300" b="0" i="0" u="none" strike="noStrike" baseline="30000" dirty="0">
                <a:solidFill>
                  <a:srgbClr val="08082B"/>
                </a:solidFill>
                <a:latin typeface="Century Gothic" panose="020B0502020202020204" pitchFamily="34" charset="0"/>
              </a:rPr>
              <a:t>que </a:t>
            </a:r>
            <a:r>
              <a:rPr lang="en-GB" sz="2300" b="0" i="0" u="none" strike="noStrike" baseline="30000" dirty="0" err="1">
                <a:solidFill>
                  <a:srgbClr val="08082B"/>
                </a:solidFill>
                <a:latin typeface="Century Gothic" panose="020B0502020202020204" pitchFamily="34" charset="0"/>
              </a:rPr>
              <a:t>soluptatet</a:t>
            </a:r>
            <a:r>
              <a:rPr lang="en-GB" sz="2300" b="0" i="0" u="none" strike="noStrike" baseline="30000" dirty="0">
                <a:solidFill>
                  <a:srgbClr val="08082B"/>
                </a:solidFill>
                <a:latin typeface="Century Gothic" panose="020B0502020202020204" pitchFamily="34" charset="0"/>
              </a:rPr>
              <a:t> </a:t>
            </a:r>
            <a:r>
              <a:rPr lang="en-GB" sz="2300" b="0" i="0" u="none" strike="noStrike" baseline="30000" dirty="0" err="1">
                <a:solidFill>
                  <a:srgbClr val="08082B"/>
                </a:solidFill>
                <a:latin typeface="Century Gothic" panose="020B0502020202020204" pitchFamily="34" charset="0"/>
              </a:rPr>
              <a:t>audantia</a:t>
            </a:r>
            <a:r>
              <a:rPr lang="en-GB" sz="2300" b="0" i="0" u="none" strike="noStrike" baseline="30000" dirty="0">
                <a:solidFill>
                  <a:srgbClr val="08082B"/>
                </a:solidFill>
                <a:latin typeface="Century Gothic" panose="020B0502020202020204" pitchFamily="34" charset="0"/>
              </a:rPr>
              <a:t> </a:t>
            </a:r>
            <a:r>
              <a:rPr lang="en-GB" sz="2300" b="0" i="0" u="none" strike="noStrike" baseline="30000" dirty="0" err="1">
                <a:solidFill>
                  <a:srgbClr val="08082B"/>
                </a:solidFill>
                <a:latin typeface="Century Gothic" panose="020B0502020202020204" pitchFamily="34" charset="0"/>
              </a:rPr>
              <a:t>ventur</a:t>
            </a:r>
            <a:r>
              <a:rPr lang="en-GB" sz="2300" b="0" i="0" u="none" strike="noStrike" baseline="30000" dirty="0">
                <a:solidFill>
                  <a:srgbClr val="08082B"/>
                </a:solidFill>
                <a:latin typeface="Century Gothic" panose="020B0502020202020204" pitchFamily="34" charset="0"/>
              </a:rPr>
              <a:t>? </a:t>
            </a:r>
            <a:r>
              <a:rPr lang="en-GB" sz="2300" b="0" i="0" u="none" strike="noStrike" baseline="30000" dirty="0" err="1">
                <a:solidFill>
                  <a:srgbClr val="08082B"/>
                </a:solidFill>
                <a:latin typeface="Century Gothic" panose="020B0502020202020204" pitchFamily="34" charset="0"/>
              </a:rPr>
              <a:t>Temporentis</a:t>
            </a:r>
            <a:r>
              <a:rPr lang="en-GB" sz="2300" b="0" i="0" u="none" strike="noStrike" baseline="30000" dirty="0">
                <a:solidFill>
                  <a:srgbClr val="08082B"/>
                </a:solidFill>
                <a:latin typeface="Century Gothic" panose="020B0502020202020204" pitchFamily="34" charset="0"/>
              </a:rPr>
              <a:t> sim </a:t>
            </a:r>
            <a:r>
              <a:rPr lang="en-GB" sz="2300" b="0" i="0" u="none" strike="noStrike" baseline="30000" dirty="0" err="1">
                <a:solidFill>
                  <a:srgbClr val="08082B"/>
                </a:solidFill>
                <a:latin typeface="Century Gothic" panose="020B0502020202020204" pitchFamily="34" charset="0"/>
              </a:rPr>
              <a:t>cus</a:t>
            </a:r>
            <a:r>
              <a:rPr lang="en-GB" sz="2300" b="0" i="0" u="none" strike="noStrike" baseline="30000" dirty="0">
                <a:solidFill>
                  <a:srgbClr val="08082B"/>
                </a:solidFill>
                <a:latin typeface="Century Gothic" panose="020B0502020202020204" pitchFamily="34" charset="0"/>
              </a:rPr>
              <a:t>, </a:t>
            </a:r>
            <a:br>
              <a:rPr lang="en-GB" sz="2300" b="0" i="0" u="none" strike="noStrike" baseline="30000" dirty="0">
                <a:solidFill>
                  <a:srgbClr val="08082B"/>
                </a:solidFill>
                <a:latin typeface="Century Gothic" panose="020B0502020202020204" pitchFamily="34" charset="0"/>
              </a:rPr>
            </a:br>
            <a:r>
              <a:rPr lang="en-GB" sz="2300" b="0" i="0" u="none" strike="noStrike" baseline="30000" dirty="0" err="1">
                <a:solidFill>
                  <a:srgbClr val="08082B"/>
                </a:solidFill>
                <a:latin typeface="Century Gothic" panose="020B0502020202020204" pitchFamily="34" charset="0"/>
              </a:rPr>
              <a:t>volesti</a:t>
            </a:r>
            <a:r>
              <a:rPr lang="en-GB" sz="2300" b="0" i="0" u="none" strike="noStrike" baseline="30000" dirty="0">
                <a:solidFill>
                  <a:srgbClr val="08082B"/>
                </a:solidFill>
                <a:latin typeface="Century Gothic" panose="020B0502020202020204" pitchFamily="34" charset="0"/>
              </a:rPr>
              <a:t> </a:t>
            </a:r>
            <a:r>
              <a:rPr lang="en-GB" sz="2300" b="0" i="0" u="none" strike="noStrike" baseline="30000" dirty="0" err="1">
                <a:solidFill>
                  <a:srgbClr val="08082B"/>
                </a:solidFill>
                <a:latin typeface="Century Gothic" panose="020B0502020202020204" pitchFamily="34" charset="0"/>
              </a:rPr>
              <a:t>comni</a:t>
            </a:r>
            <a:r>
              <a:rPr lang="en-GB" sz="2300" b="0" i="0" u="none" strike="noStrike" baseline="30000" dirty="0">
                <a:solidFill>
                  <a:srgbClr val="08082B"/>
                </a:solidFill>
                <a:latin typeface="Century Gothic" panose="020B0502020202020204" pitchFamily="34" charset="0"/>
              </a:rPr>
              <a:t> test ped et </a:t>
            </a:r>
            <a:r>
              <a:rPr lang="en-GB" sz="2300" b="0" i="0" u="none" strike="noStrike" baseline="30000" dirty="0" err="1">
                <a:solidFill>
                  <a:srgbClr val="08082B"/>
                </a:solidFill>
                <a:latin typeface="Century Gothic" panose="020B0502020202020204" pitchFamily="34" charset="0"/>
              </a:rPr>
              <a:t>ut</a:t>
            </a:r>
            <a:r>
              <a:rPr lang="en-GB" sz="2300" b="0" i="0" u="none" strike="noStrike" baseline="30000" dirty="0">
                <a:solidFill>
                  <a:srgbClr val="08082B"/>
                </a:solidFill>
                <a:latin typeface="Century Gothic" panose="020B0502020202020204" pitchFamily="34" charset="0"/>
              </a:rPr>
              <a:t> </a:t>
            </a:r>
            <a:r>
              <a:rPr lang="en-GB" sz="2300" b="0" i="0" u="none" strike="noStrike" baseline="30000" dirty="0" err="1">
                <a:solidFill>
                  <a:srgbClr val="08082B"/>
                </a:solidFill>
                <a:latin typeface="Century Gothic" panose="020B0502020202020204" pitchFamily="34" charset="0"/>
              </a:rPr>
              <a:t>officature</a:t>
            </a:r>
            <a:r>
              <a:rPr lang="en-GB" sz="2300" b="0" i="0" u="none" strike="noStrike" baseline="30000" dirty="0">
                <a:solidFill>
                  <a:srgbClr val="08082B"/>
                </a:solidFill>
                <a:latin typeface="Century Gothic" panose="020B0502020202020204" pitchFamily="34" charset="0"/>
              </a:rPr>
              <a:t> ne </a:t>
            </a:r>
            <a:r>
              <a:rPr lang="en-GB" sz="2300" b="0" i="0" u="none" strike="noStrike" baseline="30000" dirty="0" err="1">
                <a:solidFill>
                  <a:srgbClr val="08082B"/>
                </a:solidFill>
                <a:latin typeface="Century Gothic" panose="020B0502020202020204" pitchFamily="34" charset="0"/>
              </a:rPr>
              <a:t>quis</a:t>
            </a:r>
            <a:r>
              <a:rPr lang="en-GB" sz="2300" b="0" i="0" u="none" strike="noStrike" baseline="30000" dirty="0">
                <a:solidFill>
                  <a:srgbClr val="08082B"/>
                </a:solidFill>
                <a:latin typeface="Century Gothic" panose="020B0502020202020204" pitchFamily="34" charset="0"/>
              </a:rPr>
              <a:t> am </a:t>
            </a:r>
            <a:r>
              <a:rPr lang="en-GB" sz="2300" b="0" i="0" u="none" strike="noStrike" baseline="30000" dirty="0" err="1">
                <a:solidFill>
                  <a:srgbClr val="08082B"/>
                </a:solidFill>
                <a:latin typeface="Century Gothic" panose="020B0502020202020204" pitchFamily="34" charset="0"/>
              </a:rPr>
              <a:t>aut</a:t>
            </a:r>
            <a:r>
              <a:rPr lang="en-GB" sz="2300" b="0" i="0" u="none" strike="noStrike" baseline="30000" dirty="0">
                <a:solidFill>
                  <a:srgbClr val="08082B"/>
                </a:solidFill>
                <a:latin typeface="Century Gothic" panose="020B0502020202020204" pitchFamily="34" charset="0"/>
              </a:rPr>
              <a:t> </a:t>
            </a:r>
            <a:r>
              <a:rPr lang="en-GB" sz="2300" b="0" i="0" u="none" strike="noStrike" baseline="30000" dirty="0" err="1">
                <a:solidFill>
                  <a:srgbClr val="08082B"/>
                </a:solidFill>
                <a:latin typeface="Century Gothic" panose="020B0502020202020204" pitchFamily="34" charset="0"/>
              </a:rPr>
              <a:t>aut</a:t>
            </a:r>
            <a:r>
              <a:rPr lang="en-GB" sz="2300" b="0" i="0" u="none" strike="noStrike" baseline="30000" dirty="0">
                <a:solidFill>
                  <a:srgbClr val="08082B"/>
                </a:solidFill>
                <a:latin typeface="Century Gothic" panose="020B0502020202020204" pitchFamily="34" charset="0"/>
              </a:rPr>
              <a:t> </a:t>
            </a:r>
            <a:br>
              <a:rPr lang="en-GB" sz="2300" b="0" i="0" u="none" strike="noStrike" baseline="30000" dirty="0">
                <a:solidFill>
                  <a:srgbClr val="08082B"/>
                </a:solidFill>
                <a:latin typeface="Century Gothic" panose="020B0502020202020204" pitchFamily="34" charset="0"/>
              </a:rPr>
            </a:br>
            <a:r>
              <a:rPr lang="en-GB" sz="2300" b="0" i="0" u="none" strike="noStrike" baseline="30000" dirty="0">
                <a:solidFill>
                  <a:srgbClr val="08082B"/>
                </a:solidFill>
                <a:latin typeface="Century Gothic" panose="020B0502020202020204" pitchFamily="34" charset="0"/>
              </a:rPr>
              <a:t>et es de </a:t>
            </a:r>
            <a:r>
              <a:rPr lang="en-GB" sz="2300" b="0" i="0" u="none" strike="noStrike" baseline="30000" dirty="0" err="1">
                <a:solidFill>
                  <a:srgbClr val="08082B"/>
                </a:solidFill>
                <a:latin typeface="Century Gothic" panose="020B0502020202020204" pitchFamily="34" charset="0"/>
              </a:rPr>
              <a:t>providi</a:t>
            </a:r>
            <a:r>
              <a:rPr lang="en-GB" sz="2300" b="0" i="0" u="none" strike="noStrike" baseline="30000" dirty="0">
                <a:solidFill>
                  <a:srgbClr val="08082B"/>
                </a:solidFill>
                <a:latin typeface="Century Gothic" panose="020B0502020202020204" pitchFamily="34" charset="0"/>
              </a:rPr>
              <a:t> </a:t>
            </a:r>
            <a:r>
              <a:rPr lang="en-GB" sz="2300" b="0" i="0" u="none" strike="noStrike" baseline="30000" dirty="0" err="1">
                <a:solidFill>
                  <a:srgbClr val="08082B"/>
                </a:solidFill>
                <a:latin typeface="Century Gothic" panose="020B0502020202020204" pitchFamily="34" charset="0"/>
              </a:rPr>
              <a:t>aut</a:t>
            </a:r>
            <a:r>
              <a:rPr lang="en-GB" sz="2300" b="0" i="0" u="none" strike="noStrike" baseline="30000" dirty="0">
                <a:solidFill>
                  <a:srgbClr val="08082B"/>
                </a:solidFill>
                <a:latin typeface="Century Gothic" panose="020B0502020202020204" pitchFamily="34" charset="0"/>
              </a:rPr>
              <a:t> </a:t>
            </a:r>
            <a:r>
              <a:rPr lang="en-GB" sz="2300" b="0" i="0" u="none" strike="noStrike" baseline="30000" dirty="0" err="1">
                <a:solidFill>
                  <a:srgbClr val="08082B"/>
                </a:solidFill>
                <a:latin typeface="Century Gothic" panose="020B0502020202020204" pitchFamily="34" charset="0"/>
              </a:rPr>
              <a:t>fugia</a:t>
            </a:r>
            <a:r>
              <a:rPr lang="en-GB" sz="2300" b="0" i="0" u="none" strike="noStrike" baseline="30000" dirty="0">
                <a:solidFill>
                  <a:srgbClr val="08082B"/>
                </a:solidFill>
                <a:latin typeface="Century Gothic" panose="020B0502020202020204" pitchFamily="34" charset="0"/>
              </a:rPr>
              <a:t> </a:t>
            </a:r>
            <a:r>
              <a:rPr lang="en-GB" sz="2300" b="0" i="0" u="none" strike="noStrike" baseline="30000" dirty="0" err="1">
                <a:solidFill>
                  <a:srgbClr val="08082B"/>
                </a:solidFill>
                <a:latin typeface="Century Gothic" panose="020B0502020202020204" pitchFamily="34" charset="0"/>
              </a:rPr>
              <a:t>dolo</a:t>
            </a:r>
            <a:r>
              <a:rPr lang="en-GB" sz="2300" b="0" i="0" u="none" strike="noStrike" baseline="30000" dirty="0">
                <a:solidFill>
                  <a:srgbClr val="08082B"/>
                </a:solidFill>
                <a:latin typeface="Century Gothic" panose="020B0502020202020204" pitchFamily="34" charset="0"/>
              </a:rPr>
              <a:t> </a:t>
            </a:r>
            <a:r>
              <a:rPr lang="en-GB" sz="2300" b="0" i="0" u="none" strike="noStrike" baseline="30000" dirty="0" err="1">
                <a:solidFill>
                  <a:srgbClr val="08082B"/>
                </a:solidFill>
                <a:latin typeface="Century Gothic" panose="020B0502020202020204" pitchFamily="34" charset="0"/>
              </a:rPr>
              <a:t>excersp</a:t>
            </a:r>
            <a:r>
              <a:rPr lang="en-GB" sz="2300" b="0" i="0" u="none" strike="noStrike" baseline="30000" dirty="0">
                <a:solidFill>
                  <a:srgbClr val="08082B"/>
                </a:solidFill>
                <a:latin typeface="Century Gothic" panose="020B0502020202020204" pitchFamily="34" charset="0"/>
              </a:rPr>
              <a:t> </a:t>
            </a:r>
            <a:r>
              <a:rPr lang="en-GB" sz="2300" b="0" i="0" u="none" strike="noStrike" baseline="30000" dirty="0" err="1">
                <a:solidFill>
                  <a:srgbClr val="08082B"/>
                </a:solidFill>
                <a:latin typeface="Century Gothic" panose="020B0502020202020204" pitchFamily="34" charset="0"/>
              </a:rPr>
              <a:t>eritia</a:t>
            </a:r>
            <a:r>
              <a:rPr lang="en-GB" sz="2300" b="0" i="0" u="none" strike="noStrike" baseline="30000" dirty="0">
                <a:solidFill>
                  <a:srgbClr val="08082B"/>
                </a:solidFill>
                <a:latin typeface="Century Gothic" panose="020B0502020202020204" pitchFamily="34" charset="0"/>
              </a:rPr>
              <a:t> </a:t>
            </a:r>
            <a:r>
              <a:rPr lang="en-GB" sz="2300" b="0" i="0" u="none" strike="noStrike" baseline="30000" dirty="0" err="1">
                <a:solidFill>
                  <a:srgbClr val="08082B"/>
                </a:solidFill>
                <a:latin typeface="Century Gothic" panose="020B0502020202020204" pitchFamily="34" charset="0"/>
              </a:rPr>
              <a:t>voluptaerum</a:t>
            </a:r>
            <a:endParaRPr lang="fr-CA" dirty="0"/>
          </a:p>
        </p:txBody>
      </p:sp>
      <p:sp>
        <p:nvSpPr>
          <p:cNvPr id="14" name="Espace réservé du texte 8">
            <a:extLst>
              <a:ext uri="{FF2B5EF4-FFF2-40B4-BE49-F238E27FC236}">
                <a16:creationId xmlns:a16="http://schemas.microsoft.com/office/drawing/2014/main" id="{001D8C19-59B8-42A8-976A-9CBFCAAC7A9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92931" y="237296"/>
            <a:ext cx="7488832" cy="432047"/>
          </a:xfrm>
        </p:spPr>
        <p:txBody>
          <a:bodyPr anchor="b" anchorCtr="0"/>
          <a:lstStyle>
            <a:lvl1pPr>
              <a:defRPr sz="2400">
                <a:solidFill>
                  <a:srgbClr val="07072B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fr-CA" dirty="0"/>
              <a:t>Titre de slide</a:t>
            </a:r>
          </a:p>
        </p:txBody>
      </p:sp>
    </p:spTree>
    <p:extLst>
      <p:ext uri="{BB962C8B-B14F-4D97-AF65-F5344CB8AC3E}">
        <p14:creationId xmlns:p14="http://schemas.microsoft.com/office/powerpoint/2010/main" val="196930269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ge texte avec photo - fond blanc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pour une image  4">
            <a:extLst>
              <a:ext uri="{FF2B5EF4-FFF2-40B4-BE49-F238E27FC236}">
                <a16:creationId xmlns:a16="http://schemas.microsoft.com/office/drawing/2014/main" id="{4F3424CD-D2E5-4B68-A580-74569ED887ED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097589" y="1"/>
            <a:ext cx="6089649" cy="6873875"/>
          </a:xfrm>
        </p:spPr>
        <p:txBody>
          <a:bodyPr/>
          <a:lstStyle/>
          <a:p>
            <a:r>
              <a:rPr lang="fr-FR" dirty="0"/>
              <a:t>Cliquez sur l'icône pour ajouter une image</a:t>
            </a:r>
            <a:endParaRPr lang="fr-CA" dirty="0"/>
          </a:p>
        </p:txBody>
      </p:sp>
      <p:pic>
        <p:nvPicPr>
          <p:cNvPr id="6" name="Objet 3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588" y="1588"/>
            <a:ext cx="1587" cy="1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Freeform 5"/>
          <p:cNvSpPr>
            <a:spLocks/>
          </p:cNvSpPr>
          <p:nvPr userDrawn="1"/>
        </p:nvSpPr>
        <p:spPr bwMode="auto">
          <a:xfrm>
            <a:off x="4067175" y="2243138"/>
            <a:ext cx="0" cy="0"/>
          </a:xfrm>
          <a:custGeom>
            <a:avLst/>
            <a:gdLst>
              <a:gd name="T0" fmla="*/ 0 60000 65536"/>
              <a:gd name="T1" fmla="*/ 0 60000 65536"/>
              <a:gd name="T2" fmla="*/ 0 60000 65536"/>
            </a:gdLst>
            <a:ahLst/>
            <a:cxnLst>
              <a:cxn ang="T0">
                <a:pos x="0" y="0"/>
              </a:cxn>
              <a:cxn ang="T1">
                <a:pos x="0" y="0"/>
              </a:cxn>
              <a:cxn ang="T2">
                <a:pos x="0" y="0"/>
              </a:cxn>
            </a:cxnLst>
            <a:rect l="0" t="0" r="r" b="b"/>
            <a:pathLst>
              <a:path>
                <a:moveTo>
                  <a:pt x="0" y="0"/>
                </a:moveTo>
                <a:cubicBezTo>
                  <a:pt x="0" y="0"/>
                  <a:pt x="0" y="0"/>
                  <a:pt x="0" y="0"/>
                </a:cubicBezTo>
                <a:cubicBezTo>
                  <a:pt x="0" y="0"/>
                  <a:pt x="0" y="0"/>
                  <a:pt x="0" y="0"/>
                </a:cubicBezTo>
                <a:close/>
              </a:path>
            </a:pathLst>
          </a:custGeom>
          <a:solidFill>
            <a:srgbClr val="FFFFFF"/>
          </a:solidFill>
          <a:ln w="9525">
            <a:noFill/>
            <a:round/>
            <a:headEnd/>
            <a:tailEnd/>
          </a:ln>
        </p:spPr>
        <p:txBody>
          <a:bodyPr lIns="102363" tIns="51178" rIns="102363" bIns="51178"/>
          <a:lstStyle/>
          <a:p>
            <a:endParaRPr lang="en-GB" dirty="0"/>
          </a:p>
        </p:txBody>
      </p:sp>
      <p:sp>
        <p:nvSpPr>
          <p:cNvPr id="11" name="Freeform 6"/>
          <p:cNvSpPr>
            <a:spLocks/>
          </p:cNvSpPr>
          <p:nvPr userDrawn="1"/>
        </p:nvSpPr>
        <p:spPr bwMode="auto">
          <a:xfrm>
            <a:off x="4032250" y="1962150"/>
            <a:ext cx="0" cy="0"/>
          </a:xfrm>
          <a:custGeom>
            <a:avLst/>
            <a:gdLst>
              <a:gd name="T0" fmla="*/ 0 60000 65536"/>
              <a:gd name="T1" fmla="*/ 0 60000 65536"/>
              <a:gd name="T2" fmla="*/ 0 60000 65536"/>
            </a:gdLst>
            <a:ahLst/>
            <a:cxnLst>
              <a:cxn ang="T0">
                <a:pos x="0" y="0"/>
              </a:cxn>
              <a:cxn ang="T1">
                <a:pos x="0" y="0"/>
              </a:cxn>
              <a:cxn ang="T2">
                <a:pos x="0" y="0"/>
              </a:cxn>
            </a:cxnLst>
            <a:rect l="0" t="0" r="r" b="b"/>
            <a:pathLst>
              <a:path>
                <a:moveTo>
                  <a:pt x="0" y="0"/>
                </a:moveTo>
                <a:cubicBezTo>
                  <a:pt x="0" y="0"/>
                  <a:pt x="0" y="0"/>
                  <a:pt x="0" y="0"/>
                </a:cubicBezTo>
                <a:cubicBezTo>
                  <a:pt x="0" y="0"/>
                  <a:pt x="0" y="0"/>
                  <a:pt x="0" y="0"/>
                </a:cubicBezTo>
                <a:close/>
              </a:path>
            </a:pathLst>
          </a:custGeom>
          <a:solidFill>
            <a:srgbClr val="FFFFFF"/>
          </a:solidFill>
          <a:ln w="9525">
            <a:noFill/>
            <a:round/>
            <a:headEnd/>
            <a:tailEnd/>
          </a:ln>
        </p:spPr>
        <p:txBody>
          <a:bodyPr lIns="102363" tIns="51178" rIns="102363" bIns="51178"/>
          <a:lstStyle/>
          <a:p>
            <a:endParaRPr lang="en-GB" dirty="0"/>
          </a:p>
        </p:txBody>
      </p:sp>
      <p:sp>
        <p:nvSpPr>
          <p:cNvPr id="16" name="Espace réservé du contenu 16">
            <a:extLst>
              <a:ext uri="{FF2B5EF4-FFF2-40B4-BE49-F238E27FC236}">
                <a16:creationId xmlns:a16="http://schemas.microsoft.com/office/drawing/2014/main" id="{F9E433C0-A231-4AC8-B431-1E603782C983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877044" y="1054101"/>
            <a:ext cx="5220544" cy="2663725"/>
          </a:xfrm>
        </p:spPr>
        <p:txBody>
          <a:bodyPr anchor="t" anchorCtr="0"/>
          <a:lstStyle>
            <a:lvl1pPr algn="l">
              <a:defRPr sz="4000">
                <a:solidFill>
                  <a:srgbClr val="07072B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fr-CA" dirty="0"/>
              <a:t>Page texte avec </a:t>
            </a:r>
          </a:p>
          <a:p>
            <a:pPr lvl="0"/>
            <a:r>
              <a:rPr lang="fr-CA" dirty="0"/>
              <a:t>long titre et photo </a:t>
            </a:r>
          </a:p>
          <a:p>
            <a:pPr lvl="0"/>
            <a:r>
              <a:rPr lang="fr-CA" dirty="0" err="1"/>
              <a:t>lorem</a:t>
            </a:r>
            <a:r>
              <a:rPr lang="fr-CA" dirty="0"/>
              <a:t> ipsum </a:t>
            </a:r>
            <a:r>
              <a:rPr lang="fr-CA" dirty="0" err="1"/>
              <a:t>dolor</a:t>
            </a:r>
            <a:endParaRPr lang="fr-CA" dirty="0"/>
          </a:p>
          <a:p>
            <a:pPr lvl="0"/>
            <a:r>
              <a:rPr lang="fr-CA" dirty="0" err="1"/>
              <a:t>sit</a:t>
            </a:r>
            <a:r>
              <a:rPr lang="fr-CA" dirty="0"/>
              <a:t> </a:t>
            </a:r>
            <a:r>
              <a:rPr lang="fr-CA" dirty="0" err="1"/>
              <a:t>amet</a:t>
            </a:r>
            <a:r>
              <a:rPr lang="fr-CA" dirty="0"/>
              <a:t>.</a:t>
            </a:r>
          </a:p>
        </p:txBody>
      </p:sp>
      <p:sp>
        <p:nvSpPr>
          <p:cNvPr id="18" name="Espace réservé du contenu 14">
            <a:extLst>
              <a:ext uri="{FF2B5EF4-FFF2-40B4-BE49-F238E27FC236}">
                <a16:creationId xmlns:a16="http://schemas.microsoft.com/office/drawing/2014/main" id="{CCF9C410-A114-49A4-86C9-FB034EA7D3AE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913013" y="3789833"/>
            <a:ext cx="5184575" cy="2592288"/>
          </a:xfrm>
        </p:spPr>
        <p:txBody>
          <a:bodyPr numCol="1"/>
          <a:lstStyle>
            <a:lvl1pPr algn="l" rtl="0">
              <a:defRPr lang="en-GB" sz="1200" b="0" i="0" u="none" strike="noStrike" baseline="30000" smtClean="0"/>
            </a:lvl1pPr>
          </a:lstStyle>
          <a:p>
            <a:pPr rtl="0"/>
            <a:r>
              <a:rPr lang="en-GB" sz="2300" b="0" i="0" u="none" strike="noStrike" baseline="30000" dirty="0" err="1">
                <a:solidFill>
                  <a:srgbClr val="08082B"/>
                </a:solidFill>
                <a:latin typeface="Century Gothic" panose="020B0502020202020204" pitchFamily="34" charset="0"/>
              </a:rPr>
              <a:t>Equam</a:t>
            </a:r>
            <a:r>
              <a:rPr lang="en-GB" sz="2300" b="0" i="0" u="none" strike="noStrike" baseline="30000" dirty="0">
                <a:solidFill>
                  <a:srgbClr val="08082B"/>
                </a:solidFill>
                <a:latin typeface="Century Gothic" panose="020B0502020202020204" pitchFamily="34" charset="0"/>
              </a:rPr>
              <a:t> re </a:t>
            </a:r>
            <a:r>
              <a:rPr lang="en-GB" sz="2300" b="0" i="0" u="none" strike="noStrike" baseline="30000" dirty="0" err="1">
                <a:solidFill>
                  <a:srgbClr val="08082B"/>
                </a:solidFill>
                <a:latin typeface="Century Gothic" panose="020B0502020202020204" pitchFamily="34" charset="0"/>
              </a:rPr>
              <a:t>laboriatiis</a:t>
            </a:r>
            <a:r>
              <a:rPr lang="en-GB" sz="2300" b="0" i="0" u="none" strike="noStrike" baseline="30000" dirty="0">
                <a:solidFill>
                  <a:srgbClr val="08082B"/>
                </a:solidFill>
                <a:latin typeface="Century Gothic" panose="020B0502020202020204" pitchFamily="34" charset="0"/>
              </a:rPr>
              <a:t> </a:t>
            </a:r>
            <a:r>
              <a:rPr lang="en-GB" sz="2300" b="0" i="0" u="none" strike="noStrike" baseline="30000" dirty="0" err="1">
                <a:solidFill>
                  <a:srgbClr val="08082B"/>
                </a:solidFill>
                <a:latin typeface="Century Gothic" panose="020B0502020202020204" pitchFamily="34" charset="0"/>
              </a:rPr>
              <a:t>moluptat</a:t>
            </a:r>
            <a:r>
              <a:rPr lang="en-GB" sz="2300" b="0" i="0" u="none" strike="noStrike" baseline="30000" dirty="0">
                <a:solidFill>
                  <a:srgbClr val="08082B"/>
                </a:solidFill>
                <a:latin typeface="Century Gothic" panose="020B0502020202020204" pitchFamily="34" charset="0"/>
              </a:rPr>
              <a:t> </a:t>
            </a:r>
            <a:r>
              <a:rPr lang="en-GB" sz="2300" b="0" i="0" u="none" strike="noStrike" baseline="30000" dirty="0" err="1">
                <a:solidFill>
                  <a:srgbClr val="08082B"/>
                </a:solidFill>
                <a:latin typeface="Century Gothic" panose="020B0502020202020204" pitchFamily="34" charset="0"/>
              </a:rPr>
              <a:t>restiam</a:t>
            </a:r>
            <a:r>
              <a:rPr lang="en-GB" sz="2300" b="0" i="0" u="none" strike="noStrike" baseline="30000" dirty="0">
                <a:solidFill>
                  <a:srgbClr val="08082B"/>
                </a:solidFill>
                <a:latin typeface="Century Gothic" panose="020B0502020202020204" pitchFamily="34" charset="0"/>
              </a:rPr>
              <a:t>, que </a:t>
            </a:r>
            <a:r>
              <a:rPr lang="en-GB" sz="2300" b="0" i="0" u="none" strike="noStrike" baseline="30000" dirty="0" err="1">
                <a:solidFill>
                  <a:srgbClr val="08082B"/>
                </a:solidFill>
                <a:latin typeface="Century Gothic" panose="020B0502020202020204" pitchFamily="34" charset="0"/>
              </a:rPr>
              <a:t>labo</a:t>
            </a:r>
            <a:r>
              <a:rPr lang="en-GB" sz="2300" b="0" i="0" u="none" strike="noStrike" baseline="30000" dirty="0">
                <a:solidFill>
                  <a:srgbClr val="08082B"/>
                </a:solidFill>
                <a:latin typeface="Century Gothic" panose="020B0502020202020204" pitchFamily="34" charset="0"/>
              </a:rPr>
              <a:t>. </a:t>
            </a:r>
            <a:r>
              <a:rPr lang="en-GB" sz="2300" b="0" i="0" u="none" strike="noStrike" baseline="30000" dirty="0" err="1">
                <a:solidFill>
                  <a:srgbClr val="08082B"/>
                </a:solidFill>
                <a:latin typeface="Century Gothic" panose="020B0502020202020204" pitchFamily="34" charset="0"/>
              </a:rPr>
              <a:t>Enimus</a:t>
            </a:r>
            <a:r>
              <a:rPr lang="en-GB" sz="2300" b="0" i="0" u="none" strike="noStrike" baseline="30000" dirty="0">
                <a:solidFill>
                  <a:srgbClr val="08082B"/>
                </a:solidFill>
                <a:latin typeface="Century Gothic" panose="020B0502020202020204" pitchFamily="34" charset="0"/>
              </a:rPr>
              <a:t> </a:t>
            </a:r>
            <a:br>
              <a:rPr lang="en-GB" sz="2300" b="0" i="0" u="none" strike="noStrike" baseline="30000" dirty="0">
                <a:solidFill>
                  <a:srgbClr val="08082B"/>
                </a:solidFill>
                <a:latin typeface="Century Gothic" panose="020B0502020202020204" pitchFamily="34" charset="0"/>
              </a:rPr>
            </a:br>
            <a:r>
              <a:rPr lang="en-GB" sz="2300" b="0" i="0" u="none" strike="noStrike" baseline="30000" dirty="0" err="1">
                <a:solidFill>
                  <a:srgbClr val="08082B"/>
                </a:solidFill>
                <a:latin typeface="Century Gothic" panose="020B0502020202020204" pitchFamily="34" charset="0"/>
              </a:rPr>
              <a:t>estio</a:t>
            </a:r>
            <a:r>
              <a:rPr lang="en-GB" sz="2300" b="0" i="0" u="none" strike="noStrike" baseline="30000" dirty="0">
                <a:solidFill>
                  <a:srgbClr val="08082B"/>
                </a:solidFill>
                <a:latin typeface="Century Gothic" panose="020B0502020202020204" pitchFamily="34" charset="0"/>
              </a:rPr>
              <a:t> </a:t>
            </a:r>
            <a:r>
              <a:rPr lang="en-GB" sz="2300" b="0" i="0" u="none" strike="noStrike" baseline="30000" dirty="0" err="1">
                <a:solidFill>
                  <a:srgbClr val="08082B"/>
                </a:solidFill>
                <a:latin typeface="Century Gothic" panose="020B0502020202020204" pitchFamily="34" charset="0"/>
              </a:rPr>
              <a:t>ilic</a:t>
            </a:r>
            <a:r>
              <a:rPr lang="en-GB" sz="2300" b="0" i="0" u="none" strike="noStrike" baseline="30000" dirty="0">
                <a:solidFill>
                  <a:srgbClr val="08082B"/>
                </a:solidFill>
                <a:latin typeface="Century Gothic" panose="020B0502020202020204" pitchFamily="34" charset="0"/>
              </a:rPr>
              <a:t> </a:t>
            </a:r>
            <a:r>
              <a:rPr lang="en-GB" sz="2300" b="0" i="0" u="none" strike="noStrike" baseline="30000" dirty="0" err="1">
                <a:solidFill>
                  <a:srgbClr val="08082B"/>
                </a:solidFill>
                <a:latin typeface="Century Gothic" panose="020B0502020202020204" pitchFamily="34" charset="0"/>
              </a:rPr>
              <a:t>tectatecab</a:t>
            </a:r>
            <a:r>
              <a:rPr lang="en-GB" sz="2300" b="0" i="0" u="none" strike="noStrike" baseline="30000" dirty="0">
                <a:solidFill>
                  <a:srgbClr val="08082B"/>
                </a:solidFill>
                <a:latin typeface="Century Gothic" panose="020B0502020202020204" pitchFamily="34" charset="0"/>
              </a:rPr>
              <a:t> in </a:t>
            </a:r>
            <a:r>
              <a:rPr lang="en-GB" sz="2300" b="0" i="0" u="none" strike="noStrike" baseline="30000" dirty="0" err="1">
                <a:solidFill>
                  <a:srgbClr val="08082B"/>
                </a:solidFill>
                <a:latin typeface="Century Gothic" panose="020B0502020202020204" pitchFamily="34" charset="0"/>
              </a:rPr>
              <a:t>eum</a:t>
            </a:r>
            <a:r>
              <a:rPr lang="en-GB" sz="2300" b="0" i="0" u="none" strike="noStrike" baseline="30000" dirty="0">
                <a:solidFill>
                  <a:srgbClr val="08082B"/>
                </a:solidFill>
                <a:latin typeface="Century Gothic" panose="020B0502020202020204" pitchFamily="34" charset="0"/>
              </a:rPr>
              <a:t> quid </a:t>
            </a:r>
            <a:r>
              <a:rPr lang="en-GB" sz="2300" b="0" i="0" u="none" strike="noStrike" baseline="30000" dirty="0" err="1">
                <a:solidFill>
                  <a:srgbClr val="08082B"/>
                </a:solidFill>
                <a:latin typeface="Century Gothic" panose="020B0502020202020204" pitchFamily="34" charset="0"/>
              </a:rPr>
              <a:t>experi</a:t>
            </a:r>
            <a:r>
              <a:rPr lang="en-GB" sz="2300" b="0" i="0" u="none" strike="noStrike" baseline="30000" dirty="0">
                <a:solidFill>
                  <a:srgbClr val="08082B"/>
                </a:solidFill>
                <a:latin typeface="Century Gothic" panose="020B0502020202020204" pitchFamily="34" charset="0"/>
              </a:rPr>
              <a:t> con </a:t>
            </a:r>
            <a:r>
              <a:rPr lang="en-GB" sz="2300" b="0" i="0" u="none" strike="noStrike" baseline="30000" dirty="0" err="1">
                <a:solidFill>
                  <a:srgbClr val="08082B"/>
                </a:solidFill>
                <a:latin typeface="Century Gothic" panose="020B0502020202020204" pitchFamily="34" charset="0"/>
              </a:rPr>
              <a:t>nulum</a:t>
            </a:r>
            <a:r>
              <a:rPr lang="en-GB" sz="2300" b="0" i="0" u="none" strike="noStrike" baseline="30000" dirty="0">
                <a:solidFill>
                  <a:srgbClr val="08082B"/>
                </a:solidFill>
                <a:latin typeface="Century Gothic" panose="020B0502020202020204" pitchFamily="34" charset="0"/>
              </a:rPr>
              <a:t> </a:t>
            </a:r>
            <a:r>
              <a:rPr lang="en-GB" sz="2300" b="0" i="0" u="none" strike="noStrike" baseline="30000" dirty="0" err="1">
                <a:solidFill>
                  <a:srgbClr val="08082B"/>
                </a:solidFill>
                <a:latin typeface="Century Gothic" panose="020B0502020202020204" pitchFamily="34" charset="0"/>
              </a:rPr>
              <a:t>ea</a:t>
            </a:r>
            <a:r>
              <a:rPr lang="en-GB" sz="2300" b="0" i="0" u="none" strike="noStrike" baseline="30000" dirty="0">
                <a:solidFill>
                  <a:srgbClr val="08082B"/>
                </a:solidFill>
                <a:latin typeface="Century Gothic" panose="020B0502020202020204" pitchFamily="34" charset="0"/>
              </a:rPr>
              <a:t> </a:t>
            </a:r>
            <a:br>
              <a:rPr lang="en-GB" sz="2300" b="0" i="0" u="none" strike="noStrike" baseline="30000" dirty="0">
                <a:solidFill>
                  <a:srgbClr val="08082B"/>
                </a:solidFill>
                <a:latin typeface="Century Gothic" panose="020B0502020202020204" pitchFamily="34" charset="0"/>
              </a:rPr>
            </a:br>
            <a:r>
              <a:rPr lang="en-GB" sz="2300" b="0" i="0" u="none" strike="noStrike" baseline="30000" dirty="0">
                <a:solidFill>
                  <a:srgbClr val="08082B"/>
                </a:solidFill>
                <a:latin typeface="Century Gothic" panose="020B0502020202020204" pitchFamily="34" charset="0"/>
              </a:rPr>
              <a:t>que </a:t>
            </a:r>
            <a:r>
              <a:rPr lang="en-GB" sz="2300" b="0" i="0" u="none" strike="noStrike" baseline="30000" dirty="0" err="1">
                <a:solidFill>
                  <a:srgbClr val="08082B"/>
                </a:solidFill>
                <a:latin typeface="Century Gothic" panose="020B0502020202020204" pitchFamily="34" charset="0"/>
              </a:rPr>
              <a:t>nos</a:t>
            </a:r>
            <a:r>
              <a:rPr lang="en-GB" sz="2300" b="0" i="0" u="none" strike="noStrike" baseline="30000" dirty="0">
                <a:solidFill>
                  <a:srgbClr val="08082B"/>
                </a:solidFill>
                <a:latin typeface="Century Gothic" panose="020B0502020202020204" pitchFamily="34" charset="0"/>
              </a:rPr>
              <a:t> </a:t>
            </a:r>
            <a:r>
              <a:rPr lang="en-GB" sz="2300" b="0" i="0" u="none" strike="noStrike" baseline="30000" dirty="0" err="1">
                <a:solidFill>
                  <a:srgbClr val="08082B"/>
                </a:solidFill>
                <a:latin typeface="Century Gothic" panose="020B0502020202020204" pitchFamily="34" charset="0"/>
              </a:rPr>
              <a:t>rerit</a:t>
            </a:r>
            <a:r>
              <a:rPr lang="en-GB" sz="2300" b="0" i="0" u="none" strike="noStrike" baseline="30000" dirty="0">
                <a:solidFill>
                  <a:srgbClr val="08082B"/>
                </a:solidFill>
                <a:latin typeface="Century Gothic" panose="020B0502020202020204" pitchFamily="34" charset="0"/>
              </a:rPr>
              <a:t> quid </a:t>
            </a:r>
            <a:r>
              <a:rPr lang="en-GB" sz="2300" b="0" i="0" u="none" strike="noStrike" baseline="30000" dirty="0" err="1">
                <a:solidFill>
                  <a:srgbClr val="08082B"/>
                </a:solidFill>
                <a:latin typeface="Century Gothic" panose="020B0502020202020204" pitchFamily="34" charset="0"/>
              </a:rPr>
              <a:t>quatur</a:t>
            </a:r>
            <a:r>
              <a:rPr lang="en-GB" sz="2300" b="0" i="0" u="none" strike="noStrike" baseline="30000" dirty="0">
                <a:solidFill>
                  <a:srgbClr val="08082B"/>
                </a:solidFill>
                <a:latin typeface="Century Gothic" panose="020B0502020202020204" pitchFamily="34" charset="0"/>
              </a:rPr>
              <a:t> </a:t>
            </a:r>
            <a:r>
              <a:rPr lang="en-GB" sz="2300" b="0" i="0" u="none" strike="noStrike" baseline="30000" dirty="0" err="1">
                <a:solidFill>
                  <a:srgbClr val="08082B"/>
                </a:solidFill>
                <a:latin typeface="Century Gothic" panose="020B0502020202020204" pitchFamily="34" charset="0"/>
              </a:rPr>
              <a:t>aut</a:t>
            </a:r>
            <a:r>
              <a:rPr lang="en-GB" sz="2300" b="0" i="0" u="none" strike="noStrike" baseline="30000" dirty="0">
                <a:solidFill>
                  <a:srgbClr val="08082B"/>
                </a:solidFill>
                <a:latin typeface="Century Gothic" panose="020B0502020202020204" pitchFamily="34" charset="0"/>
              </a:rPr>
              <a:t> </a:t>
            </a:r>
            <a:r>
              <a:rPr lang="en-GB" sz="2300" b="0" i="0" u="none" strike="noStrike" baseline="30000" dirty="0" err="1">
                <a:solidFill>
                  <a:srgbClr val="08082B"/>
                </a:solidFill>
                <a:latin typeface="Century Gothic" panose="020B0502020202020204" pitchFamily="34" charset="0"/>
              </a:rPr>
              <a:t>laborer</a:t>
            </a:r>
            <a:r>
              <a:rPr lang="en-GB" sz="2300" b="0" i="0" u="none" strike="noStrike" baseline="30000" dirty="0">
                <a:solidFill>
                  <a:srgbClr val="08082B"/>
                </a:solidFill>
                <a:latin typeface="Century Gothic" panose="020B0502020202020204" pitchFamily="34" charset="0"/>
              </a:rPr>
              <a:t> </a:t>
            </a:r>
            <a:r>
              <a:rPr lang="en-GB" sz="2300" b="0" i="0" u="none" strike="noStrike" baseline="30000" dirty="0" err="1">
                <a:solidFill>
                  <a:srgbClr val="08082B"/>
                </a:solidFill>
                <a:latin typeface="Century Gothic" panose="020B0502020202020204" pitchFamily="34" charset="0"/>
              </a:rPr>
              <a:t>oressec</a:t>
            </a:r>
            <a:r>
              <a:rPr lang="en-GB" sz="2300" b="0" i="0" u="none" strike="noStrike" baseline="30000" dirty="0">
                <a:solidFill>
                  <a:srgbClr val="08082B"/>
                </a:solidFill>
                <a:latin typeface="Century Gothic" panose="020B0502020202020204" pitchFamily="34" charset="0"/>
              </a:rPr>
              <a:t> </a:t>
            </a:r>
            <a:r>
              <a:rPr lang="en-GB" sz="2300" b="0" i="0" u="none" strike="noStrike" baseline="30000" dirty="0" err="1">
                <a:solidFill>
                  <a:srgbClr val="08082B"/>
                </a:solidFill>
                <a:latin typeface="Century Gothic" panose="020B0502020202020204" pitchFamily="34" charset="0"/>
              </a:rPr>
              <a:t>tatur</a:t>
            </a:r>
            <a:r>
              <a:rPr lang="en-GB" sz="2300" b="0" i="0" u="none" strike="noStrike" baseline="30000" dirty="0">
                <a:solidFill>
                  <a:srgbClr val="08082B"/>
                </a:solidFill>
                <a:latin typeface="Century Gothic" panose="020B0502020202020204" pitchFamily="34" charset="0"/>
              </a:rPr>
              <a:t>, sim </a:t>
            </a:r>
            <a:br>
              <a:rPr lang="en-GB" sz="2300" b="0" i="0" u="none" strike="noStrike" baseline="30000" dirty="0">
                <a:solidFill>
                  <a:srgbClr val="08082B"/>
                </a:solidFill>
                <a:latin typeface="Century Gothic" panose="020B0502020202020204" pitchFamily="34" charset="0"/>
              </a:rPr>
            </a:br>
            <a:r>
              <a:rPr lang="en-GB" sz="2300" b="0" i="0" u="none" strike="noStrike" baseline="30000" dirty="0">
                <a:solidFill>
                  <a:srgbClr val="08082B"/>
                </a:solidFill>
                <a:latin typeface="Century Gothic" panose="020B0502020202020204" pitchFamily="34" charset="0"/>
              </a:rPr>
              <a:t>que </a:t>
            </a:r>
            <a:r>
              <a:rPr lang="en-GB" sz="2300" b="0" i="0" u="none" strike="noStrike" baseline="30000" dirty="0" err="1">
                <a:solidFill>
                  <a:srgbClr val="08082B"/>
                </a:solidFill>
                <a:latin typeface="Century Gothic" panose="020B0502020202020204" pitchFamily="34" charset="0"/>
              </a:rPr>
              <a:t>soluptatet</a:t>
            </a:r>
            <a:r>
              <a:rPr lang="en-GB" sz="2300" b="0" i="0" u="none" strike="noStrike" baseline="30000" dirty="0">
                <a:solidFill>
                  <a:srgbClr val="08082B"/>
                </a:solidFill>
                <a:latin typeface="Century Gothic" panose="020B0502020202020204" pitchFamily="34" charset="0"/>
              </a:rPr>
              <a:t> </a:t>
            </a:r>
            <a:r>
              <a:rPr lang="en-GB" sz="2300" b="0" i="0" u="none" strike="noStrike" baseline="30000" dirty="0" err="1">
                <a:solidFill>
                  <a:srgbClr val="08082B"/>
                </a:solidFill>
                <a:latin typeface="Century Gothic" panose="020B0502020202020204" pitchFamily="34" charset="0"/>
              </a:rPr>
              <a:t>audantia</a:t>
            </a:r>
            <a:r>
              <a:rPr lang="en-GB" sz="2300" b="0" i="0" u="none" strike="noStrike" baseline="30000" dirty="0">
                <a:solidFill>
                  <a:srgbClr val="08082B"/>
                </a:solidFill>
                <a:latin typeface="Century Gothic" panose="020B0502020202020204" pitchFamily="34" charset="0"/>
              </a:rPr>
              <a:t> </a:t>
            </a:r>
            <a:r>
              <a:rPr lang="en-GB" sz="2300" b="0" i="0" u="none" strike="noStrike" baseline="30000" dirty="0" err="1">
                <a:solidFill>
                  <a:srgbClr val="08082B"/>
                </a:solidFill>
                <a:latin typeface="Century Gothic" panose="020B0502020202020204" pitchFamily="34" charset="0"/>
              </a:rPr>
              <a:t>ventur</a:t>
            </a:r>
            <a:r>
              <a:rPr lang="en-GB" sz="2300" b="0" i="0" u="none" strike="noStrike" baseline="30000" dirty="0">
                <a:solidFill>
                  <a:srgbClr val="08082B"/>
                </a:solidFill>
                <a:latin typeface="Century Gothic" panose="020B0502020202020204" pitchFamily="34" charset="0"/>
              </a:rPr>
              <a:t>? </a:t>
            </a:r>
            <a:r>
              <a:rPr lang="en-GB" sz="2300" b="0" i="0" u="none" strike="noStrike" baseline="30000" dirty="0" err="1">
                <a:solidFill>
                  <a:srgbClr val="08082B"/>
                </a:solidFill>
                <a:latin typeface="Century Gothic" panose="020B0502020202020204" pitchFamily="34" charset="0"/>
              </a:rPr>
              <a:t>Temporentis</a:t>
            </a:r>
            <a:r>
              <a:rPr lang="en-GB" sz="2300" b="0" i="0" u="none" strike="noStrike" baseline="30000" dirty="0">
                <a:solidFill>
                  <a:srgbClr val="08082B"/>
                </a:solidFill>
                <a:latin typeface="Century Gothic" panose="020B0502020202020204" pitchFamily="34" charset="0"/>
              </a:rPr>
              <a:t> sim </a:t>
            </a:r>
            <a:r>
              <a:rPr lang="en-GB" sz="2300" b="0" i="0" u="none" strike="noStrike" baseline="30000" dirty="0" err="1">
                <a:solidFill>
                  <a:srgbClr val="08082B"/>
                </a:solidFill>
                <a:latin typeface="Century Gothic" panose="020B0502020202020204" pitchFamily="34" charset="0"/>
              </a:rPr>
              <a:t>cus</a:t>
            </a:r>
            <a:r>
              <a:rPr lang="en-GB" sz="2300" b="0" i="0" u="none" strike="noStrike" baseline="30000" dirty="0">
                <a:solidFill>
                  <a:srgbClr val="08082B"/>
                </a:solidFill>
                <a:latin typeface="Century Gothic" panose="020B0502020202020204" pitchFamily="34" charset="0"/>
              </a:rPr>
              <a:t>, </a:t>
            </a:r>
            <a:br>
              <a:rPr lang="en-GB" sz="2300" b="0" i="0" u="none" strike="noStrike" baseline="30000" dirty="0">
                <a:solidFill>
                  <a:srgbClr val="08082B"/>
                </a:solidFill>
                <a:latin typeface="Century Gothic" panose="020B0502020202020204" pitchFamily="34" charset="0"/>
              </a:rPr>
            </a:br>
            <a:r>
              <a:rPr lang="en-GB" sz="2300" b="0" i="0" u="none" strike="noStrike" baseline="30000" dirty="0" err="1">
                <a:solidFill>
                  <a:srgbClr val="08082B"/>
                </a:solidFill>
                <a:latin typeface="Century Gothic" panose="020B0502020202020204" pitchFamily="34" charset="0"/>
              </a:rPr>
              <a:t>volesti</a:t>
            </a:r>
            <a:r>
              <a:rPr lang="en-GB" sz="2300" b="0" i="0" u="none" strike="noStrike" baseline="30000" dirty="0">
                <a:solidFill>
                  <a:srgbClr val="08082B"/>
                </a:solidFill>
                <a:latin typeface="Century Gothic" panose="020B0502020202020204" pitchFamily="34" charset="0"/>
              </a:rPr>
              <a:t> </a:t>
            </a:r>
            <a:r>
              <a:rPr lang="en-GB" sz="2300" b="0" i="0" u="none" strike="noStrike" baseline="30000" dirty="0" err="1">
                <a:solidFill>
                  <a:srgbClr val="08082B"/>
                </a:solidFill>
                <a:latin typeface="Century Gothic" panose="020B0502020202020204" pitchFamily="34" charset="0"/>
              </a:rPr>
              <a:t>comni</a:t>
            </a:r>
            <a:r>
              <a:rPr lang="en-GB" sz="2300" b="0" i="0" u="none" strike="noStrike" baseline="30000" dirty="0">
                <a:solidFill>
                  <a:srgbClr val="08082B"/>
                </a:solidFill>
                <a:latin typeface="Century Gothic" panose="020B0502020202020204" pitchFamily="34" charset="0"/>
              </a:rPr>
              <a:t> test ped et </a:t>
            </a:r>
            <a:r>
              <a:rPr lang="en-GB" sz="2300" b="0" i="0" u="none" strike="noStrike" baseline="30000" dirty="0" err="1">
                <a:solidFill>
                  <a:srgbClr val="08082B"/>
                </a:solidFill>
                <a:latin typeface="Century Gothic" panose="020B0502020202020204" pitchFamily="34" charset="0"/>
              </a:rPr>
              <a:t>ut</a:t>
            </a:r>
            <a:r>
              <a:rPr lang="en-GB" sz="2300" b="0" i="0" u="none" strike="noStrike" baseline="30000" dirty="0">
                <a:solidFill>
                  <a:srgbClr val="08082B"/>
                </a:solidFill>
                <a:latin typeface="Century Gothic" panose="020B0502020202020204" pitchFamily="34" charset="0"/>
              </a:rPr>
              <a:t> </a:t>
            </a:r>
            <a:r>
              <a:rPr lang="en-GB" sz="2300" b="0" i="0" u="none" strike="noStrike" baseline="30000" dirty="0" err="1">
                <a:solidFill>
                  <a:srgbClr val="08082B"/>
                </a:solidFill>
                <a:latin typeface="Century Gothic" panose="020B0502020202020204" pitchFamily="34" charset="0"/>
              </a:rPr>
              <a:t>officature</a:t>
            </a:r>
            <a:r>
              <a:rPr lang="en-GB" sz="2300" b="0" i="0" u="none" strike="noStrike" baseline="30000" dirty="0">
                <a:solidFill>
                  <a:srgbClr val="08082B"/>
                </a:solidFill>
                <a:latin typeface="Century Gothic" panose="020B0502020202020204" pitchFamily="34" charset="0"/>
              </a:rPr>
              <a:t> ne </a:t>
            </a:r>
            <a:r>
              <a:rPr lang="en-GB" sz="2300" b="0" i="0" u="none" strike="noStrike" baseline="30000" dirty="0" err="1">
                <a:solidFill>
                  <a:srgbClr val="08082B"/>
                </a:solidFill>
                <a:latin typeface="Century Gothic" panose="020B0502020202020204" pitchFamily="34" charset="0"/>
              </a:rPr>
              <a:t>quis</a:t>
            </a:r>
            <a:r>
              <a:rPr lang="en-GB" sz="2300" b="0" i="0" u="none" strike="noStrike" baseline="30000" dirty="0">
                <a:solidFill>
                  <a:srgbClr val="08082B"/>
                </a:solidFill>
                <a:latin typeface="Century Gothic" panose="020B0502020202020204" pitchFamily="34" charset="0"/>
              </a:rPr>
              <a:t> am </a:t>
            </a:r>
            <a:r>
              <a:rPr lang="en-GB" sz="2300" b="0" i="0" u="none" strike="noStrike" baseline="30000" dirty="0" err="1">
                <a:solidFill>
                  <a:srgbClr val="08082B"/>
                </a:solidFill>
                <a:latin typeface="Century Gothic" panose="020B0502020202020204" pitchFamily="34" charset="0"/>
              </a:rPr>
              <a:t>aut</a:t>
            </a:r>
            <a:r>
              <a:rPr lang="en-GB" sz="2300" b="0" i="0" u="none" strike="noStrike" baseline="30000" dirty="0">
                <a:solidFill>
                  <a:srgbClr val="08082B"/>
                </a:solidFill>
                <a:latin typeface="Century Gothic" panose="020B0502020202020204" pitchFamily="34" charset="0"/>
              </a:rPr>
              <a:t> </a:t>
            </a:r>
            <a:r>
              <a:rPr lang="en-GB" sz="2300" b="0" i="0" u="none" strike="noStrike" baseline="30000" dirty="0" err="1">
                <a:solidFill>
                  <a:srgbClr val="08082B"/>
                </a:solidFill>
                <a:latin typeface="Century Gothic" panose="020B0502020202020204" pitchFamily="34" charset="0"/>
              </a:rPr>
              <a:t>aut</a:t>
            </a:r>
            <a:r>
              <a:rPr lang="en-GB" sz="2300" b="0" i="0" u="none" strike="noStrike" baseline="30000" dirty="0">
                <a:solidFill>
                  <a:srgbClr val="08082B"/>
                </a:solidFill>
                <a:latin typeface="Century Gothic" panose="020B0502020202020204" pitchFamily="34" charset="0"/>
              </a:rPr>
              <a:t> </a:t>
            </a:r>
            <a:br>
              <a:rPr lang="en-GB" sz="2300" b="0" i="0" u="none" strike="noStrike" baseline="30000" dirty="0">
                <a:solidFill>
                  <a:srgbClr val="08082B"/>
                </a:solidFill>
                <a:latin typeface="Century Gothic" panose="020B0502020202020204" pitchFamily="34" charset="0"/>
              </a:rPr>
            </a:br>
            <a:r>
              <a:rPr lang="en-GB" sz="2300" b="0" i="0" u="none" strike="noStrike" baseline="30000" dirty="0">
                <a:solidFill>
                  <a:srgbClr val="08082B"/>
                </a:solidFill>
                <a:latin typeface="Century Gothic" panose="020B0502020202020204" pitchFamily="34" charset="0"/>
              </a:rPr>
              <a:t>et es de </a:t>
            </a:r>
            <a:r>
              <a:rPr lang="en-GB" sz="2300" b="0" i="0" u="none" strike="noStrike" baseline="30000" dirty="0" err="1">
                <a:solidFill>
                  <a:srgbClr val="08082B"/>
                </a:solidFill>
                <a:latin typeface="Century Gothic" panose="020B0502020202020204" pitchFamily="34" charset="0"/>
              </a:rPr>
              <a:t>providi</a:t>
            </a:r>
            <a:r>
              <a:rPr lang="en-GB" sz="2300" b="0" i="0" u="none" strike="noStrike" baseline="30000" dirty="0">
                <a:solidFill>
                  <a:srgbClr val="08082B"/>
                </a:solidFill>
                <a:latin typeface="Century Gothic" panose="020B0502020202020204" pitchFamily="34" charset="0"/>
              </a:rPr>
              <a:t> </a:t>
            </a:r>
            <a:r>
              <a:rPr lang="en-GB" sz="2300" b="0" i="0" u="none" strike="noStrike" baseline="30000" dirty="0" err="1">
                <a:solidFill>
                  <a:srgbClr val="08082B"/>
                </a:solidFill>
                <a:latin typeface="Century Gothic" panose="020B0502020202020204" pitchFamily="34" charset="0"/>
              </a:rPr>
              <a:t>aut</a:t>
            </a:r>
            <a:r>
              <a:rPr lang="en-GB" sz="2300" b="0" i="0" u="none" strike="noStrike" baseline="30000" dirty="0">
                <a:solidFill>
                  <a:srgbClr val="08082B"/>
                </a:solidFill>
                <a:latin typeface="Century Gothic" panose="020B0502020202020204" pitchFamily="34" charset="0"/>
              </a:rPr>
              <a:t> </a:t>
            </a:r>
            <a:r>
              <a:rPr lang="en-GB" sz="2300" b="0" i="0" u="none" strike="noStrike" baseline="30000" dirty="0" err="1">
                <a:solidFill>
                  <a:srgbClr val="08082B"/>
                </a:solidFill>
                <a:latin typeface="Century Gothic" panose="020B0502020202020204" pitchFamily="34" charset="0"/>
              </a:rPr>
              <a:t>fugia</a:t>
            </a:r>
            <a:r>
              <a:rPr lang="en-GB" sz="2300" b="0" i="0" u="none" strike="noStrike" baseline="30000" dirty="0">
                <a:solidFill>
                  <a:srgbClr val="08082B"/>
                </a:solidFill>
                <a:latin typeface="Century Gothic" panose="020B0502020202020204" pitchFamily="34" charset="0"/>
              </a:rPr>
              <a:t> </a:t>
            </a:r>
            <a:r>
              <a:rPr lang="en-GB" sz="2300" b="0" i="0" u="none" strike="noStrike" baseline="30000" dirty="0" err="1">
                <a:solidFill>
                  <a:srgbClr val="08082B"/>
                </a:solidFill>
                <a:latin typeface="Century Gothic" panose="020B0502020202020204" pitchFamily="34" charset="0"/>
              </a:rPr>
              <a:t>dolo</a:t>
            </a:r>
            <a:r>
              <a:rPr lang="en-GB" sz="2300" b="0" i="0" u="none" strike="noStrike" baseline="30000" dirty="0">
                <a:solidFill>
                  <a:srgbClr val="08082B"/>
                </a:solidFill>
                <a:latin typeface="Century Gothic" panose="020B0502020202020204" pitchFamily="34" charset="0"/>
              </a:rPr>
              <a:t> </a:t>
            </a:r>
            <a:r>
              <a:rPr lang="en-GB" sz="2300" b="0" i="0" u="none" strike="noStrike" baseline="30000" dirty="0" err="1">
                <a:solidFill>
                  <a:srgbClr val="08082B"/>
                </a:solidFill>
                <a:latin typeface="Century Gothic" panose="020B0502020202020204" pitchFamily="34" charset="0"/>
              </a:rPr>
              <a:t>excersp</a:t>
            </a:r>
            <a:r>
              <a:rPr lang="en-GB" sz="2300" b="0" i="0" u="none" strike="noStrike" baseline="30000" dirty="0">
                <a:solidFill>
                  <a:srgbClr val="08082B"/>
                </a:solidFill>
                <a:latin typeface="Century Gothic" panose="020B0502020202020204" pitchFamily="34" charset="0"/>
              </a:rPr>
              <a:t> </a:t>
            </a:r>
            <a:r>
              <a:rPr lang="en-GB" sz="2300" b="0" i="0" u="none" strike="noStrike" baseline="30000" dirty="0" err="1">
                <a:solidFill>
                  <a:srgbClr val="08082B"/>
                </a:solidFill>
                <a:latin typeface="Century Gothic" panose="020B0502020202020204" pitchFamily="34" charset="0"/>
              </a:rPr>
              <a:t>eritia</a:t>
            </a:r>
            <a:r>
              <a:rPr lang="en-GB" sz="2300" b="0" i="0" u="none" strike="noStrike" baseline="30000" dirty="0">
                <a:solidFill>
                  <a:srgbClr val="08082B"/>
                </a:solidFill>
                <a:latin typeface="Century Gothic" panose="020B0502020202020204" pitchFamily="34" charset="0"/>
              </a:rPr>
              <a:t> </a:t>
            </a:r>
            <a:r>
              <a:rPr lang="en-GB" sz="2300" b="0" i="0" u="none" strike="noStrike" baseline="30000" dirty="0" err="1">
                <a:solidFill>
                  <a:srgbClr val="08082B"/>
                </a:solidFill>
                <a:latin typeface="Century Gothic" panose="020B0502020202020204" pitchFamily="34" charset="0"/>
              </a:rPr>
              <a:t>voluptaerum</a:t>
            </a:r>
            <a:endParaRPr lang="fr-CA" dirty="0"/>
          </a:p>
        </p:txBody>
      </p:sp>
    </p:spTree>
    <p:extLst>
      <p:ext uri="{BB962C8B-B14F-4D97-AF65-F5344CB8AC3E}">
        <p14:creationId xmlns:p14="http://schemas.microsoft.com/office/powerpoint/2010/main" val="11172578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ge texte avec produit">
    <p:bg>
      <p:bgPr>
        <a:solidFill>
          <a:srgbClr val="07072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pour une image  4">
            <a:extLst>
              <a:ext uri="{FF2B5EF4-FFF2-40B4-BE49-F238E27FC236}">
                <a16:creationId xmlns:a16="http://schemas.microsoft.com/office/drawing/2014/main" id="{4F3424CD-D2E5-4B68-A580-74569ED887ED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097589" y="1"/>
            <a:ext cx="6089649" cy="6873875"/>
          </a:xfrm>
        </p:spPr>
        <p:txBody>
          <a:bodyPr/>
          <a:lstStyle/>
          <a:p>
            <a:r>
              <a:rPr lang="fr-FR" dirty="0"/>
              <a:t>Cliquez sur l'icône pour ajouter une image</a:t>
            </a:r>
            <a:endParaRPr lang="fr-CA" dirty="0"/>
          </a:p>
        </p:txBody>
      </p:sp>
      <p:pic>
        <p:nvPicPr>
          <p:cNvPr id="6" name="Objet 3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588" y="1588"/>
            <a:ext cx="1587" cy="1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Freeform 5"/>
          <p:cNvSpPr>
            <a:spLocks/>
          </p:cNvSpPr>
          <p:nvPr userDrawn="1"/>
        </p:nvSpPr>
        <p:spPr bwMode="auto">
          <a:xfrm>
            <a:off x="4067175" y="2243138"/>
            <a:ext cx="0" cy="0"/>
          </a:xfrm>
          <a:custGeom>
            <a:avLst/>
            <a:gdLst>
              <a:gd name="T0" fmla="*/ 0 60000 65536"/>
              <a:gd name="T1" fmla="*/ 0 60000 65536"/>
              <a:gd name="T2" fmla="*/ 0 60000 65536"/>
            </a:gdLst>
            <a:ahLst/>
            <a:cxnLst>
              <a:cxn ang="T0">
                <a:pos x="0" y="0"/>
              </a:cxn>
              <a:cxn ang="T1">
                <a:pos x="0" y="0"/>
              </a:cxn>
              <a:cxn ang="T2">
                <a:pos x="0" y="0"/>
              </a:cxn>
            </a:cxnLst>
            <a:rect l="0" t="0" r="r" b="b"/>
            <a:pathLst>
              <a:path>
                <a:moveTo>
                  <a:pt x="0" y="0"/>
                </a:moveTo>
                <a:cubicBezTo>
                  <a:pt x="0" y="0"/>
                  <a:pt x="0" y="0"/>
                  <a:pt x="0" y="0"/>
                </a:cubicBezTo>
                <a:cubicBezTo>
                  <a:pt x="0" y="0"/>
                  <a:pt x="0" y="0"/>
                  <a:pt x="0" y="0"/>
                </a:cubicBezTo>
                <a:close/>
              </a:path>
            </a:pathLst>
          </a:custGeom>
          <a:solidFill>
            <a:srgbClr val="FFFFFF"/>
          </a:solidFill>
          <a:ln w="9525">
            <a:noFill/>
            <a:round/>
            <a:headEnd/>
            <a:tailEnd/>
          </a:ln>
        </p:spPr>
        <p:txBody>
          <a:bodyPr lIns="102363" tIns="51178" rIns="102363" bIns="51178"/>
          <a:lstStyle/>
          <a:p>
            <a:endParaRPr lang="en-GB" dirty="0"/>
          </a:p>
        </p:txBody>
      </p:sp>
      <p:sp>
        <p:nvSpPr>
          <p:cNvPr id="11" name="Freeform 6"/>
          <p:cNvSpPr>
            <a:spLocks/>
          </p:cNvSpPr>
          <p:nvPr userDrawn="1"/>
        </p:nvSpPr>
        <p:spPr bwMode="auto">
          <a:xfrm>
            <a:off x="4032250" y="1962150"/>
            <a:ext cx="0" cy="0"/>
          </a:xfrm>
          <a:custGeom>
            <a:avLst/>
            <a:gdLst>
              <a:gd name="T0" fmla="*/ 0 60000 65536"/>
              <a:gd name="T1" fmla="*/ 0 60000 65536"/>
              <a:gd name="T2" fmla="*/ 0 60000 65536"/>
            </a:gdLst>
            <a:ahLst/>
            <a:cxnLst>
              <a:cxn ang="T0">
                <a:pos x="0" y="0"/>
              </a:cxn>
              <a:cxn ang="T1">
                <a:pos x="0" y="0"/>
              </a:cxn>
              <a:cxn ang="T2">
                <a:pos x="0" y="0"/>
              </a:cxn>
            </a:cxnLst>
            <a:rect l="0" t="0" r="r" b="b"/>
            <a:pathLst>
              <a:path>
                <a:moveTo>
                  <a:pt x="0" y="0"/>
                </a:moveTo>
                <a:cubicBezTo>
                  <a:pt x="0" y="0"/>
                  <a:pt x="0" y="0"/>
                  <a:pt x="0" y="0"/>
                </a:cubicBezTo>
                <a:cubicBezTo>
                  <a:pt x="0" y="0"/>
                  <a:pt x="0" y="0"/>
                  <a:pt x="0" y="0"/>
                </a:cubicBezTo>
                <a:close/>
              </a:path>
            </a:pathLst>
          </a:custGeom>
          <a:solidFill>
            <a:srgbClr val="FFFFFF"/>
          </a:solidFill>
          <a:ln w="9525">
            <a:noFill/>
            <a:round/>
            <a:headEnd/>
            <a:tailEnd/>
          </a:ln>
        </p:spPr>
        <p:txBody>
          <a:bodyPr lIns="102363" tIns="51178" rIns="102363" bIns="51178"/>
          <a:lstStyle/>
          <a:p>
            <a:endParaRPr lang="en-GB" dirty="0"/>
          </a:p>
        </p:txBody>
      </p:sp>
      <p:sp>
        <p:nvSpPr>
          <p:cNvPr id="27" name="Espace réservé du numéro de diapositive 26">
            <a:extLst>
              <a:ext uri="{FF2B5EF4-FFF2-40B4-BE49-F238E27FC236}">
                <a16:creationId xmlns:a16="http://schemas.microsoft.com/office/drawing/2014/main" id="{2DEBE434-B189-41F7-9989-933C9601248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11570195" y="6454130"/>
            <a:ext cx="539750" cy="335892"/>
          </a:xfrm>
          <a:prstGeom prst="rect">
            <a:avLst/>
          </a:prstGeom>
        </p:spPr>
        <p:txBody>
          <a:bodyPr lIns="91434" tIns="45717" rIns="91434" bIns="45717" anchor="b" anchorCtr="0"/>
          <a:lstStyle>
            <a:lvl1pPr>
              <a:defRPr sz="80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pPr algn="r">
              <a:defRPr/>
            </a:pPr>
            <a:fld id="{89AA4CF2-98ED-4480-867D-4533B78D23B5}" type="slidenum">
              <a:rPr lang="fr-CA" altLang="fr-FR" smtClean="0"/>
              <a:pPr algn="r">
                <a:defRPr/>
              </a:pPr>
              <a:t>‹#›</a:t>
            </a:fld>
            <a:endParaRPr lang="fr-CA" altLang="fr-FR" dirty="0"/>
          </a:p>
        </p:txBody>
      </p:sp>
      <p:sp>
        <p:nvSpPr>
          <p:cNvPr id="16" name="Espace réservé du contenu 16">
            <a:extLst>
              <a:ext uri="{FF2B5EF4-FFF2-40B4-BE49-F238E27FC236}">
                <a16:creationId xmlns:a16="http://schemas.microsoft.com/office/drawing/2014/main" id="{F9E433C0-A231-4AC8-B431-1E603782C983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877044" y="1054102"/>
            <a:ext cx="5220544" cy="1655614"/>
          </a:xfrm>
        </p:spPr>
        <p:txBody>
          <a:bodyPr anchor="t" anchorCtr="0"/>
          <a:lstStyle>
            <a:lvl1pPr algn="l">
              <a:defRPr sz="400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fr-CA" dirty="0"/>
              <a:t>Page de texte </a:t>
            </a:r>
          </a:p>
          <a:p>
            <a:pPr lvl="0"/>
            <a:r>
              <a:rPr lang="fr-CA" dirty="0"/>
              <a:t>avec produit.</a:t>
            </a:r>
          </a:p>
        </p:txBody>
      </p:sp>
      <p:sp>
        <p:nvSpPr>
          <p:cNvPr id="18" name="Espace réservé du contenu 14">
            <a:extLst>
              <a:ext uri="{FF2B5EF4-FFF2-40B4-BE49-F238E27FC236}">
                <a16:creationId xmlns:a16="http://schemas.microsoft.com/office/drawing/2014/main" id="{CCF9C410-A114-49A4-86C9-FB034EA7D3AE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913013" y="2781722"/>
            <a:ext cx="5184575" cy="3600400"/>
          </a:xfrm>
        </p:spPr>
        <p:txBody>
          <a:bodyPr numCol="1"/>
          <a:lstStyle>
            <a:lvl1pPr algn="l" rtl="0">
              <a:defRPr lang="en-GB" sz="1200" b="0" i="0" u="none" strike="noStrike" baseline="30000" smtClean="0"/>
            </a:lvl1pPr>
          </a:lstStyle>
          <a:p>
            <a:pPr rtl="0"/>
            <a:r>
              <a:rPr lang="en-GB" sz="2300" b="0" i="0" u="none" strike="noStrike" baseline="30000" dirty="0" err="1">
                <a:solidFill>
                  <a:srgbClr val="08082B"/>
                </a:solidFill>
                <a:latin typeface="Century Gothic" panose="020B0502020202020204" pitchFamily="34" charset="0"/>
              </a:rPr>
              <a:t>Equam</a:t>
            </a:r>
            <a:r>
              <a:rPr lang="en-GB" sz="2300" b="0" i="0" u="none" strike="noStrike" baseline="30000" dirty="0">
                <a:solidFill>
                  <a:srgbClr val="08082B"/>
                </a:solidFill>
                <a:latin typeface="Century Gothic" panose="020B0502020202020204" pitchFamily="34" charset="0"/>
              </a:rPr>
              <a:t> re </a:t>
            </a:r>
            <a:r>
              <a:rPr lang="en-GB" sz="2300" b="0" i="0" u="none" strike="noStrike" baseline="30000" dirty="0" err="1">
                <a:solidFill>
                  <a:srgbClr val="08082B"/>
                </a:solidFill>
                <a:latin typeface="Century Gothic" panose="020B0502020202020204" pitchFamily="34" charset="0"/>
              </a:rPr>
              <a:t>laboriatiis</a:t>
            </a:r>
            <a:r>
              <a:rPr lang="en-GB" sz="2300" b="0" i="0" u="none" strike="noStrike" baseline="30000" dirty="0">
                <a:solidFill>
                  <a:srgbClr val="08082B"/>
                </a:solidFill>
                <a:latin typeface="Century Gothic" panose="020B0502020202020204" pitchFamily="34" charset="0"/>
              </a:rPr>
              <a:t> </a:t>
            </a:r>
            <a:r>
              <a:rPr lang="en-GB" sz="2300" b="0" i="0" u="none" strike="noStrike" baseline="30000" dirty="0" err="1">
                <a:solidFill>
                  <a:srgbClr val="08082B"/>
                </a:solidFill>
                <a:latin typeface="Century Gothic" panose="020B0502020202020204" pitchFamily="34" charset="0"/>
              </a:rPr>
              <a:t>moluptat</a:t>
            </a:r>
            <a:r>
              <a:rPr lang="en-GB" sz="2300" b="0" i="0" u="none" strike="noStrike" baseline="30000" dirty="0">
                <a:solidFill>
                  <a:srgbClr val="08082B"/>
                </a:solidFill>
                <a:latin typeface="Century Gothic" panose="020B0502020202020204" pitchFamily="34" charset="0"/>
              </a:rPr>
              <a:t> </a:t>
            </a:r>
            <a:r>
              <a:rPr lang="en-GB" sz="2300" b="0" i="0" u="none" strike="noStrike" baseline="30000" dirty="0" err="1">
                <a:solidFill>
                  <a:srgbClr val="08082B"/>
                </a:solidFill>
                <a:latin typeface="Century Gothic" panose="020B0502020202020204" pitchFamily="34" charset="0"/>
              </a:rPr>
              <a:t>restiam</a:t>
            </a:r>
            <a:r>
              <a:rPr lang="en-GB" sz="2300" b="0" i="0" u="none" strike="noStrike" baseline="30000" dirty="0">
                <a:solidFill>
                  <a:srgbClr val="08082B"/>
                </a:solidFill>
                <a:latin typeface="Century Gothic" panose="020B0502020202020204" pitchFamily="34" charset="0"/>
              </a:rPr>
              <a:t>, que </a:t>
            </a:r>
            <a:r>
              <a:rPr lang="en-GB" sz="2300" b="0" i="0" u="none" strike="noStrike" baseline="30000" dirty="0" err="1">
                <a:solidFill>
                  <a:srgbClr val="08082B"/>
                </a:solidFill>
                <a:latin typeface="Century Gothic" panose="020B0502020202020204" pitchFamily="34" charset="0"/>
              </a:rPr>
              <a:t>labo</a:t>
            </a:r>
            <a:r>
              <a:rPr lang="en-GB" sz="2300" b="0" i="0" u="none" strike="noStrike" baseline="30000" dirty="0">
                <a:solidFill>
                  <a:srgbClr val="08082B"/>
                </a:solidFill>
                <a:latin typeface="Century Gothic" panose="020B0502020202020204" pitchFamily="34" charset="0"/>
              </a:rPr>
              <a:t>. </a:t>
            </a:r>
            <a:r>
              <a:rPr lang="en-GB" sz="2300" b="0" i="0" u="none" strike="noStrike" baseline="30000" dirty="0" err="1">
                <a:solidFill>
                  <a:srgbClr val="08082B"/>
                </a:solidFill>
                <a:latin typeface="Century Gothic" panose="020B0502020202020204" pitchFamily="34" charset="0"/>
              </a:rPr>
              <a:t>Enimus</a:t>
            </a:r>
            <a:r>
              <a:rPr lang="en-GB" sz="2300" b="0" i="0" u="none" strike="noStrike" baseline="30000" dirty="0">
                <a:solidFill>
                  <a:srgbClr val="08082B"/>
                </a:solidFill>
                <a:latin typeface="Century Gothic" panose="020B0502020202020204" pitchFamily="34" charset="0"/>
              </a:rPr>
              <a:t> </a:t>
            </a:r>
            <a:br>
              <a:rPr lang="en-GB" sz="2300" b="0" i="0" u="none" strike="noStrike" baseline="30000" dirty="0">
                <a:solidFill>
                  <a:srgbClr val="08082B"/>
                </a:solidFill>
                <a:latin typeface="Century Gothic" panose="020B0502020202020204" pitchFamily="34" charset="0"/>
              </a:rPr>
            </a:br>
            <a:r>
              <a:rPr lang="en-GB" sz="2300" b="0" i="0" u="none" strike="noStrike" baseline="30000" dirty="0" err="1">
                <a:solidFill>
                  <a:srgbClr val="08082B"/>
                </a:solidFill>
                <a:latin typeface="Century Gothic" panose="020B0502020202020204" pitchFamily="34" charset="0"/>
              </a:rPr>
              <a:t>estio</a:t>
            </a:r>
            <a:r>
              <a:rPr lang="en-GB" sz="2300" b="0" i="0" u="none" strike="noStrike" baseline="30000" dirty="0">
                <a:solidFill>
                  <a:srgbClr val="08082B"/>
                </a:solidFill>
                <a:latin typeface="Century Gothic" panose="020B0502020202020204" pitchFamily="34" charset="0"/>
              </a:rPr>
              <a:t> </a:t>
            </a:r>
            <a:r>
              <a:rPr lang="en-GB" sz="2300" b="0" i="0" u="none" strike="noStrike" baseline="30000" dirty="0" err="1">
                <a:solidFill>
                  <a:srgbClr val="08082B"/>
                </a:solidFill>
                <a:latin typeface="Century Gothic" panose="020B0502020202020204" pitchFamily="34" charset="0"/>
              </a:rPr>
              <a:t>ilic</a:t>
            </a:r>
            <a:r>
              <a:rPr lang="en-GB" sz="2300" b="0" i="0" u="none" strike="noStrike" baseline="30000" dirty="0">
                <a:solidFill>
                  <a:srgbClr val="08082B"/>
                </a:solidFill>
                <a:latin typeface="Century Gothic" panose="020B0502020202020204" pitchFamily="34" charset="0"/>
              </a:rPr>
              <a:t> </a:t>
            </a:r>
            <a:r>
              <a:rPr lang="en-GB" sz="2300" b="0" i="0" u="none" strike="noStrike" baseline="30000" dirty="0" err="1">
                <a:solidFill>
                  <a:srgbClr val="08082B"/>
                </a:solidFill>
                <a:latin typeface="Century Gothic" panose="020B0502020202020204" pitchFamily="34" charset="0"/>
              </a:rPr>
              <a:t>tectatecab</a:t>
            </a:r>
            <a:r>
              <a:rPr lang="en-GB" sz="2300" b="0" i="0" u="none" strike="noStrike" baseline="30000" dirty="0">
                <a:solidFill>
                  <a:srgbClr val="08082B"/>
                </a:solidFill>
                <a:latin typeface="Century Gothic" panose="020B0502020202020204" pitchFamily="34" charset="0"/>
              </a:rPr>
              <a:t> in </a:t>
            </a:r>
            <a:r>
              <a:rPr lang="en-GB" sz="2300" b="0" i="0" u="none" strike="noStrike" baseline="30000" dirty="0" err="1">
                <a:solidFill>
                  <a:srgbClr val="08082B"/>
                </a:solidFill>
                <a:latin typeface="Century Gothic" panose="020B0502020202020204" pitchFamily="34" charset="0"/>
              </a:rPr>
              <a:t>eum</a:t>
            </a:r>
            <a:r>
              <a:rPr lang="en-GB" sz="2300" b="0" i="0" u="none" strike="noStrike" baseline="30000" dirty="0">
                <a:solidFill>
                  <a:srgbClr val="08082B"/>
                </a:solidFill>
                <a:latin typeface="Century Gothic" panose="020B0502020202020204" pitchFamily="34" charset="0"/>
              </a:rPr>
              <a:t> quid </a:t>
            </a:r>
            <a:r>
              <a:rPr lang="en-GB" sz="2300" b="0" i="0" u="none" strike="noStrike" baseline="30000" dirty="0" err="1">
                <a:solidFill>
                  <a:srgbClr val="08082B"/>
                </a:solidFill>
                <a:latin typeface="Century Gothic" panose="020B0502020202020204" pitchFamily="34" charset="0"/>
              </a:rPr>
              <a:t>experi</a:t>
            </a:r>
            <a:r>
              <a:rPr lang="en-GB" sz="2300" b="0" i="0" u="none" strike="noStrike" baseline="30000" dirty="0">
                <a:solidFill>
                  <a:srgbClr val="08082B"/>
                </a:solidFill>
                <a:latin typeface="Century Gothic" panose="020B0502020202020204" pitchFamily="34" charset="0"/>
              </a:rPr>
              <a:t> con </a:t>
            </a:r>
            <a:r>
              <a:rPr lang="en-GB" sz="2300" b="0" i="0" u="none" strike="noStrike" baseline="30000" dirty="0" err="1">
                <a:solidFill>
                  <a:srgbClr val="08082B"/>
                </a:solidFill>
                <a:latin typeface="Century Gothic" panose="020B0502020202020204" pitchFamily="34" charset="0"/>
              </a:rPr>
              <a:t>nulum</a:t>
            </a:r>
            <a:r>
              <a:rPr lang="en-GB" sz="2300" b="0" i="0" u="none" strike="noStrike" baseline="30000" dirty="0">
                <a:solidFill>
                  <a:srgbClr val="08082B"/>
                </a:solidFill>
                <a:latin typeface="Century Gothic" panose="020B0502020202020204" pitchFamily="34" charset="0"/>
              </a:rPr>
              <a:t> </a:t>
            </a:r>
            <a:r>
              <a:rPr lang="en-GB" sz="2300" b="0" i="0" u="none" strike="noStrike" baseline="30000" dirty="0" err="1">
                <a:solidFill>
                  <a:srgbClr val="08082B"/>
                </a:solidFill>
                <a:latin typeface="Century Gothic" panose="020B0502020202020204" pitchFamily="34" charset="0"/>
              </a:rPr>
              <a:t>ea</a:t>
            </a:r>
            <a:r>
              <a:rPr lang="en-GB" sz="2300" b="0" i="0" u="none" strike="noStrike" baseline="30000" dirty="0">
                <a:solidFill>
                  <a:srgbClr val="08082B"/>
                </a:solidFill>
                <a:latin typeface="Century Gothic" panose="020B0502020202020204" pitchFamily="34" charset="0"/>
              </a:rPr>
              <a:t> </a:t>
            </a:r>
            <a:br>
              <a:rPr lang="en-GB" sz="2300" b="0" i="0" u="none" strike="noStrike" baseline="30000" dirty="0">
                <a:solidFill>
                  <a:srgbClr val="08082B"/>
                </a:solidFill>
                <a:latin typeface="Century Gothic" panose="020B0502020202020204" pitchFamily="34" charset="0"/>
              </a:rPr>
            </a:br>
            <a:r>
              <a:rPr lang="en-GB" sz="2300" b="0" i="0" u="none" strike="noStrike" baseline="30000" dirty="0">
                <a:solidFill>
                  <a:srgbClr val="08082B"/>
                </a:solidFill>
                <a:latin typeface="Century Gothic" panose="020B0502020202020204" pitchFamily="34" charset="0"/>
              </a:rPr>
              <a:t>que </a:t>
            </a:r>
            <a:r>
              <a:rPr lang="en-GB" sz="2300" b="0" i="0" u="none" strike="noStrike" baseline="30000" dirty="0" err="1">
                <a:solidFill>
                  <a:srgbClr val="08082B"/>
                </a:solidFill>
                <a:latin typeface="Century Gothic" panose="020B0502020202020204" pitchFamily="34" charset="0"/>
              </a:rPr>
              <a:t>nos</a:t>
            </a:r>
            <a:r>
              <a:rPr lang="en-GB" sz="2300" b="0" i="0" u="none" strike="noStrike" baseline="30000" dirty="0">
                <a:solidFill>
                  <a:srgbClr val="08082B"/>
                </a:solidFill>
                <a:latin typeface="Century Gothic" panose="020B0502020202020204" pitchFamily="34" charset="0"/>
              </a:rPr>
              <a:t> </a:t>
            </a:r>
            <a:r>
              <a:rPr lang="en-GB" sz="2300" b="0" i="0" u="none" strike="noStrike" baseline="30000" dirty="0" err="1">
                <a:solidFill>
                  <a:srgbClr val="08082B"/>
                </a:solidFill>
                <a:latin typeface="Century Gothic" panose="020B0502020202020204" pitchFamily="34" charset="0"/>
              </a:rPr>
              <a:t>rerit</a:t>
            </a:r>
            <a:r>
              <a:rPr lang="en-GB" sz="2300" b="0" i="0" u="none" strike="noStrike" baseline="30000" dirty="0">
                <a:solidFill>
                  <a:srgbClr val="08082B"/>
                </a:solidFill>
                <a:latin typeface="Century Gothic" panose="020B0502020202020204" pitchFamily="34" charset="0"/>
              </a:rPr>
              <a:t> quid </a:t>
            </a:r>
            <a:r>
              <a:rPr lang="en-GB" sz="2300" b="0" i="0" u="none" strike="noStrike" baseline="30000" dirty="0" err="1">
                <a:solidFill>
                  <a:srgbClr val="08082B"/>
                </a:solidFill>
                <a:latin typeface="Century Gothic" panose="020B0502020202020204" pitchFamily="34" charset="0"/>
              </a:rPr>
              <a:t>quatur</a:t>
            </a:r>
            <a:r>
              <a:rPr lang="en-GB" sz="2300" b="0" i="0" u="none" strike="noStrike" baseline="30000" dirty="0">
                <a:solidFill>
                  <a:srgbClr val="08082B"/>
                </a:solidFill>
                <a:latin typeface="Century Gothic" panose="020B0502020202020204" pitchFamily="34" charset="0"/>
              </a:rPr>
              <a:t> </a:t>
            </a:r>
            <a:r>
              <a:rPr lang="en-GB" sz="2300" b="0" i="0" u="none" strike="noStrike" baseline="30000" dirty="0" err="1">
                <a:solidFill>
                  <a:srgbClr val="08082B"/>
                </a:solidFill>
                <a:latin typeface="Century Gothic" panose="020B0502020202020204" pitchFamily="34" charset="0"/>
              </a:rPr>
              <a:t>aut</a:t>
            </a:r>
            <a:r>
              <a:rPr lang="en-GB" sz="2300" b="0" i="0" u="none" strike="noStrike" baseline="30000" dirty="0">
                <a:solidFill>
                  <a:srgbClr val="08082B"/>
                </a:solidFill>
                <a:latin typeface="Century Gothic" panose="020B0502020202020204" pitchFamily="34" charset="0"/>
              </a:rPr>
              <a:t> </a:t>
            </a:r>
            <a:r>
              <a:rPr lang="en-GB" sz="2300" b="0" i="0" u="none" strike="noStrike" baseline="30000" dirty="0" err="1">
                <a:solidFill>
                  <a:srgbClr val="08082B"/>
                </a:solidFill>
                <a:latin typeface="Century Gothic" panose="020B0502020202020204" pitchFamily="34" charset="0"/>
              </a:rPr>
              <a:t>laborer</a:t>
            </a:r>
            <a:r>
              <a:rPr lang="en-GB" sz="2300" b="0" i="0" u="none" strike="noStrike" baseline="30000" dirty="0">
                <a:solidFill>
                  <a:srgbClr val="08082B"/>
                </a:solidFill>
                <a:latin typeface="Century Gothic" panose="020B0502020202020204" pitchFamily="34" charset="0"/>
              </a:rPr>
              <a:t> </a:t>
            </a:r>
            <a:r>
              <a:rPr lang="en-GB" sz="2300" b="0" i="0" u="none" strike="noStrike" baseline="30000" dirty="0" err="1">
                <a:solidFill>
                  <a:srgbClr val="08082B"/>
                </a:solidFill>
                <a:latin typeface="Century Gothic" panose="020B0502020202020204" pitchFamily="34" charset="0"/>
              </a:rPr>
              <a:t>oressec</a:t>
            </a:r>
            <a:r>
              <a:rPr lang="en-GB" sz="2300" b="0" i="0" u="none" strike="noStrike" baseline="30000" dirty="0">
                <a:solidFill>
                  <a:srgbClr val="08082B"/>
                </a:solidFill>
                <a:latin typeface="Century Gothic" panose="020B0502020202020204" pitchFamily="34" charset="0"/>
              </a:rPr>
              <a:t> </a:t>
            </a:r>
            <a:r>
              <a:rPr lang="en-GB" sz="2300" b="0" i="0" u="none" strike="noStrike" baseline="30000" dirty="0" err="1">
                <a:solidFill>
                  <a:srgbClr val="08082B"/>
                </a:solidFill>
                <a:latin typeface="Century Gothic" panose="020B0502020202020204" pitchFamily="34" charset="0"/>
              </a:rPr>
              <a:t>tatur</a:t>
            </a:r>
            <a:r>
              <a:rPr lang="en-GB" sz="2300" b="0" i="0" u="none" strike="noStrike" baseline="30000" dirty="0">
                <a:solidFill>
                  <a:srgbClr val="08082B"/>
                </a:solidFill>
                <a:latin typeface="Century Gothic" panose="020B0502020202020204" pitchFamily="34" charset="0"/>
              </a:rPr>
              <a:t>, sim </a:t>
            </a:r>
            <a:br>
              <a:rPr lang="en-GB" sz="2300" b="0" i="0" u="none" strike="noStrike" baseline="30000" dirty="0">
                <a:solidFill>
                  <a:srgbClr val="08082B"/>
                </a:solidFill>
                <a:latin typeface="Century Gothic" panose="020B0502020202020204" pitchFamily="34" charset="0"/>
              </a:rPr>
            </a:br>
            <a:r>
              <a:rPr lang="en-GB" sz="2300" b="0" i="0" u="none" strike="noStrike" baseline="30000" dirty="0">
                <a:solidFill>
                  <a:srgbClr val="08082B"/>
                </a:solidFill>
                <a:latin typeface="Century Gothic" panose="020B0502020202020204" pitchFamily="34" charset="0"/>
              </a:rPr>
              <a:t>que </a:t>
            </a:r>
            <a:r>
              <a:rPr lang="en-GB" sz="2300" b="0" i="0" u="none" strike="noStrike" baseline="30000" dirty="0" err="1">
                <a:solidFill>
                  <a:srgbClr val="08082B"/>
                </a:solidFill>
                <a:latin typeface="Century Gothic" panose="020B0502020202020204" pitchFamily="34" charset="0"/>
              </a:rPr>
              <a:t>soluptatet</a:t>
            </a:r>
            <a:r>
              <a:rPr lang="en-GB" sz="2300" b="0" i="0" u="none" strike="noStrike" baseline="30000" dirty="0">
                <a:solidFill>
                  <a:srgbClr val="08082B"/>
                </a:solidFill>
                <a:latin typeface="Century Gothic" panose="020B0502020202020204" pitchFamily="34" charset="0"/>
              </a:rPr>
              <a:t> </a:t>
            </a:r>
            <a:r>
              <a:rPr lang="en-GB" sz="2300" b="0" i="0" u="none" strike="noStrike" baseline="30000" dirty="0" err="1">
                <a:solidFill>
                  <a:srgbClr val="08082B"/>
                </a:solidFill>
                <a:latin typeface="Century Gothic" panose="020B0502020202020204" pitchFamily="34" charset="0"/>
              </a:rPr>
              <a:t>audantia</a:t>
            </a:r>
            <a:r>
              <a:rPr lang="en-GB" sz="2300" b="0" i="0" u="none" strike="noStrike" baseline="30000" dirty="0">
                <a:solidFill>
                  <a:srgbClr val="08082B"/>
                </a:solidFill>
                <a:latin typeface="Century Gothic" panose="020B0502020202020204" pitchFamily="34" charset="0"/>
              </a:rPr>
              <a:t> </a:t>
            </a:r>
            <a:r>
              <a:rPr lang="en-GB" sz="2300" b="0" i="0" u="none" strike="noStrike" baseline="30000" dirty="0" err="1">
                <a:solidFill>
                  <a:srgbClr val="08082B"/>
                </a:solidFill>
                <a:latin typeface="Century Gothic" panose="020B0502020202020204" pitchFamily="34" charset="0"/>
              </a:rPr>
              <a:t>ventur</a:t>
            </a:r>
            <a:r>
              <a:rPr lang="en-GB" sz="2300" b="0" i="0" u="none" strike="noStrike" baseline="30000" dirty="0">
                <a:solidFill>
                  <a:srgbClr val="08082B"/>
                </a:solidFill>
                <a:latin typeface="Century Gothic" panose="020B0502020202020204" pitchFamily="34" charset="0"/>
              </a:rPr>
              <a:t>? </a:t>
            </a:r>
            <a:r>
              <a:rPr lang="en-GB" sz="2300" b="0" i="0" u="none" strike="noStrike" baseline="30000" dirty="0" err="1">
                <a:solidFill>
                  <a:srgbClr val="08082B"/>
                </a:solidFill>
                <a:latin typeface="Century Gothic" panose="020B0502020202020204" pitchFamily="34" charset="0"/>
              </a:rPr>
              <a:t>Temporentis</a:t>
            </a:r>
            <a:r>
              <a:rPr lang="en-GB" sz="2300" b="0" i="0" u="none" strike="noStrike" baseline="30000" dirty="0">
                <a:solidFill>
                  <a:srgbClr val="08082B"/>
                </a:solidFill>
                <a:latin typeface="Century Gothic" panose="020B0502020202020204" pitchFamily="34" charset="0"/>
              </a:rPr>
              <a:t> sim </a:t>
            </a:r>
            <a:r>
              <a:rPr lang="en-GB" sz="2300" b="0" i="0" u="none" strike="noStrike" baseline="30000" dirty="0" err="1">
                <a:solidFill>
                  <a:srgbClr val="08082B"/>
                </a:solidFill>
                <a:latin typeface="Century Gothic" panose="020B0502020202020204" pitchFamily="34" charset="0"/>
              </a:rPr>
              <a:t>cus</a:t>
            </a:r>
            <a:r>
              <a:rPr lang="en-GB" sz="2300" b="0" i="0" u="none" strike="noStrike" baseline="30000" dirty="0">
                <a:solidFill>
                  <a:srgbClr val="08082B"/>
                </a:solidFill>
                <a:latin typeface="Century Gothic" panose="020B0502020202020204" pitchFamily="34" charset="0"/>
              </a:rPr>
              <a:t>, </a:t>
            </a:r>
            <a:br>
              <a:rPr lang="en-GB" sz="2300" b="0" i="0" u="none" strike="noStrike" baseline="30000" dirty="0">
                <a:solidFill>
                  <a:srgbClr val="08082B"/>
                </a:solidFill>
                <a:latin typeface="Century Gothic" panose="020B0502020202020204" pitchFamily="34" charset="0"/>
              </a:rPr>
            </a:br>
            <a:r>
              <a:rPr lang="en-GB" sz="2300" b="0" i="0" u="none" strike="noStrike" baseline="30000" dirty="0" err="1">
                <a:solidFill>
                  <a:srgbClr val="08082B"/>
                </a:solidFill>
                <a:latin typeface="Century Gothic" panose="020B0502020202020204" pitchFamily="34" charset="0"/>
              </a:rPr>
              <a:t>volesti</a:t>
            </a:r>
            <a:r>
              <a:rPr lang="en-GB" sz="2300" b="0" i="0" u="none" strike="noStrike" baseline="30000" dirty="0">
                <a:solidFill>
                  <a:srgbClr val="08082B"/>
                </a:solidFill>
                <a:latin typeface="Century Gothic" panose="020B0502020202020204" pitchFamily="34" charset="0"/>
              </a:rPr>
              <a:t> </a:t>
            </a:r>
            <a:r>
              <a:rPr lang="en-GB" sz="2300" b="0" i="0" u="none" strike="noStrike" baseline="30000" dirty="0" err="1">
                <a:solidFill>
                  <a:srgbClr val="08082B"/>
                </a:solidFill>
                <a:latin typeface="Century Gothic" panose="020B0502020202020204" pitchFamily="34" charset="0"/>
              </a:rPr>
              <a:t>comni</a:t>
            </a:r>
            <a:r>
              <a:rPr lang="en-GB" sz="2300" b="0" i="0" u="none" strike="noStrike" baseline="30000" dirty="0">
                <a:solidFill>
                  <a:srgbClr val="08082B"/>
                </a:solidFill>
                <a:latin typeface="Century Gothic" panose="020B0502020202020204" pitchFamily="34" charset="0"/>
              </a:rPr>
              <a:t> test ped et </a:t>
            </a:r>
            <a:r>
              <a:rPr lang="en-GB" sz="2300" b="0" i="0" u="none" strike="noStrike" baseline="30000" dirty="0" err="1">
                <a:solidFill>
                  <a:srgbClr val="08082B"/>
                </a:solidFill>
                <a:latin typeface="Century Gothic" panose="020B0502020202020204" pitchFamily="34" charset="0"/>
              </a:rPr>
              <a:t>ut</a:t>
            </a:r>
            <a:r>
              <a:rPr lang="en-GB" sz="2300" b="0" i="0" u="none" strike="noStrike" baseline="30000" dirty="0">
                <a:solidFill>
                  <a:srgbClr val="08082B"/>
                </a:solidFill>
                <a:latin typeface="Century Gothic" panose="020B0502020202020204" pitchFamily="34" charset="0"/>
              </a:rPr>
              <a:t> </a:t>
            </a:r>
            <a:r>
              <a:rPr lang="en-GB" sz="2300" b="0" i="0" u="none" strike="noStrike" baseline="30000" dirty="0" err="1">
                <a:solidFill>
                  <a:srgbClr val="08082B"/>
                </a:solidFill>
                <a:latin typeface="Century Gothic" panose="020B0502020202020204" pitchFamily="34" charset="0"/>
              </a:rPr>
              <a:t>officature</a:t>
            </a:r>
            <a:r>
              <a:rPr lang="en-GB" sz="2300" b="0" i="0" u="none" strike="noStrike" baseline="30000" dirty="0">
                <a:solidFill>
                  <a:srgbClr val="08082B"/>
                </a:solidFill>
                <a:latin typeface="Century Gothic" panose="020B0502020202020204" pitchFamily="34" charset="0"/>
              </a:rPr>
              <a:t> ne </a:t>
            </a:r>
            <a:r>
              <a:rPr lang="en-GB" sz="2300" b="0" i="0" u="none" strike="noStrike" baseline="30000" dirty="0" err="1">
                <a:solidFill>
                  <a:srgbClr val="08082B"/>
                </a:solidFill>
                <a:latin typeface="Century Gothic" panose="020B0502020202020204" pitchFamily="34" charset="0"/>
              </a:rPr>
              <a:t>quis</a:t>
            </a:r>
            <a:r>
              <a:rPr lang="en-GB" sz="2300" b="0" i="0" u="none" strike="noStrike" baseline="30000" dirty="0">
                <a:solidFill>
                  <a:srgbClr val="08082B"/>
                </a:solidFill>
                <a:latin typeface="Century Gothic" panose="020B0502020202020204" pitchFamily="34" charset="0"/>
              </a:rPr>
              <a:t> am </a:t>
            </a:r>
            <a:r>
              <a:rPr lang="en-GB" sz="2300" b="0" i="0" u="none" strike="noStrike" baseline="30000" dirty="0" err="1">
                <a:solidFill>
                  <a:srgbClr val="08082B"/>
                </a:solidFill>
                <a:latin typeface="Century Gothic" panose="020B0502020202020204" pitchFamily="34" charset="0"/>
              </a:rPr>
              <a:t>aut</a:t>
            </a:r>
            <a:r>
              <a:rPr lang="en-GB" sz="2300" b="0" i="0" u="none" strike="noStrike" baseline="30000" dirty="0">
                <a:solidFill>
                  <a:srgbClr val="08082B"/>
                </a:solidFill>
                <a:latin typeface="Century Gothic" panose="020B0502020202020204" pitchFamily="34" charset="0"/>
              </a:rPr>
              <a:t> </a:t>
            </a:r>
            <a:r>
              <a:rPr lang="en-GB" sz="2300" b="0" i="0" u="none" strike="noStrike" baseline="30000" dirty="0" err="1">
                <a:solidFill>
                  <a:srgbClr val="08082B"/>
                </a:solidFill>
                <a:latin typeface="Century Gothic" panose="020B0502020202020204" pitchFamily="34" charset="0"/>
              </a:rPr>
              <a:t>aut</a:t>
            </a:r>
            <a:r>
              <a:rPr lang="en-GB" sz="2300" b="0" i="0" u="none" strike="noStrike" baseline="30000" dirty="0">
                <a:solidFill>
                  <a:srgbClr val="08082B"/>
                </a:solidFill>
                <a:latin typeface="Century Gothic" panose="020B0502020202020204" pitchFamily="34" charset="0"/>
              </a:rPr>
              <a:t> </a:t>
            </a:r>
            <a:br>
              <a:rPr lang="en-GB" sz="2300" b="0" i="0" u="none" strike="noStrike" baseline="30000" dirty="0">
                <a:solidFill>
                  <a:srgbClr val="08082B"/>
                </a:solidFill>
                <a:latin typeface="Century Gothic" panose="020B0502020202020204" pitchFamily="34" charset="0"/>
              </a:rPr>
            </a:br>
            <a:r>
              <a:rPr lang="en-GB" sz="2300" b="0" i="0" u="none" strike="noStrike" baseline="30000" dirty="0">
                <a:solidFill>
                  <a:srgbClr val="08082B"/>
                </a:solidFill>
                <a:latin typeface="Century Gothic" panose="020B0502020202020204" pitchFamily="34" charset="0"/>
              </a:rPr>
              <a:t>et es de </a:t>
            </a:r>
            <a:r>
              <a:rPr lang="en-GB" sz="2300" b="0" i="0" u="none" strike="noStrike" baseline="30000" dirty="0" err="1">
                <a:solidFill>
                  <a:srgbClr val="08082B"/>
                </a:solidFill>
                <a:latin typeface="Century Gothic" panose="020B0502020202020204" pitchFamily="34" charset="0"/>
              </a:rPr>
              <a:t>providi</a:t>
            </a:r>
            <a:r>
              <a:rPr lang="en-GB" sz="2300" b="0" i="0" u="none" strike="noStrike" baseline="30000" dirty="0">
                <a:solidFill>
                  <a:srgbClr val="08082B"/>
                </a:solidFill>
                <a:latin typeface="Century Gothic" panose="020B0502020202020204" pitchFamily="34" charset="0"/>
              </a:rPr>
              <a:t> </a:t>
            </a:r>
            <a:r>
              <a:rPr lang="en-GB" sz="2300" b="0" i="0" u="none" strike="noStrike" baseline="30000" dirty="0" err="1">
                <a:solidFill>
                  <a:srgbClr val="08082B"/>
                </a:solidFill>
                <a:latin typeface="Century Gothic" panose="020B0502020202020204" pitchFamily="34" charset="0"/>
              </a:rPr>
              <a:t>aut</a:t>
            </a:r>
            <a:r>
              <a:rPr lang="en-GB" sz="2300" b="0" i="0" u="none" strike="noStrike" baseline="30000" dirty="0">
                <a:solidFill>
                  <a:srgbClr val="08082B"/>
                </a:solidFill>
                <a:latin typeface="Century Gothic" panose="020B0502020202020204" pitchFamily="34" charset="0"/>
              </a:rPr>
              <a:t> </a:t>
            </a:r>
            <a:r>
              <a:rPr lang="en-GB" sz="2300" b="0" i="0" u="none" strike="noStrike" baseline="30000" dirty="0" err="1">
                <a:solidFill>
                  <a:srgbClr val="08082B"/>
                </a:solidFill>
                <a:latin typeface="Century Gothic" panose="020B0502020202020204" pitchFamily="34" charset="0"/>
              </a:rPr>
              <a:t>fugia</a:t>
            </a:r>
            <a:r>
              <a:rPr lang="en-GB" sz="2300" b="0" i="0" u="none" strike="noStrike" baseline="30000" dirty="0">
                <a:solidFill>
                  <a:srgbClr val="08082B"/>
                </a:solidFill>
                <a:latin typeface="Century Gothic" panose="020B0502020202020204" pitchFamily="34" charset="0"/>
              </a:rPr>
              <a:t> </a:t>
            </a:r>
            <a:r>
              <a:rPr lang="en-GB" sz="2300" b="0" i="0" u="none" strike="noStrike" baseline="30000" dirty="0" err="1">
                <a:solidFill>
                  <a:srgbClr val="08082B"/>
                </a:solidFill>
                <a:latin typeface="Century Gothic" panose="020B0502020202020204" pitchFamily="34" charset="0"/>
              </a:rPr>
              <a:t>dolo</a:t>
            </a:r>
            <a:r>
              <a:rPr lang="en-GB" sz="2300" b="0" i="0" u="none" strike="noStrike" baseline="30000" dirty="0">
                <a:solidFill>
                  <a:srgbClr val="08082B"/>
                </a:solidFill>
                <a:latin typeface="Century Gothic" panose="020B0502020202020204" pitchFamily="34" charset="0"/>
              </a:rPr>
              <a:t> </a:t>
            </a:r>
            <a:r>
              <a:rPr lang="en-GB" sz="2300" b="0" i="0" u="none" strike="noStrike" baseline="30000" dirty="0" err="1">
                <a:solidFill>
                  <a:srgbClr val="08082B"/>
                </a:solidFill>
                <a:latin typeface="Century Gothic" panose="020B0502020202020204" pitchFamily="34" charset="0"/>
              </a:rPr>
              <a:t>excersp</a:t>
            </a:r>
            <a:r>
              <a:rPr lang="en-GB" sz="2300" b="0" i="0" u="none" strike="noStrike" baseline="30000" dirty="0">
                <a:solidFill>
                  <a:srgbClr val="08082B"/>
                </a:solidFill>
                <a:latin typeface="Century Gothic" panose="020B0502020202020204" pitchFamily="34" charset="0"/>
              </a:rPr>
              <a:t> </a:t>
            </a:r>
            <a:r>
              <a:rPr lang="en-GB" sz="2300" b="0" i="0" u="none" strike="noStrike" baseline="30000" dirty="0" err="1">
                <a:solidFill>
                  <a:srgbClr val="08082B"/>
                </a:solidFill>
                <a:latin typeface="Century Gothic" panose="020B0502020202020204" pitchFamily="34" charset="0"/>
              </a:rPr>
              <a:t>eritia</a:t>
            </a:r>
            <a:r>
              <a:rPr lang="en-GB" sz="2300" b="0" i="0" u="none" strike="noStrike" baseline="30000" dirty="0">
                <a:solidFill>
                  <a:srgbClr val="08082B"/>
                </a:solidFill>
                <a:latin typeface="Century Gothic" panose="020B0502020202020204" pitchFamily="34" charset="0"/>
              </a:rPr>
              <a:t> </a:t>
            </a:r>
            <a:r>
              <a:rPr lang="en-GB" sz="2300" b="0" i="0" u="none" strike="noStrike" baseline="30000" dirty="0" err="1">
                <a:solidFill>
                  <a:srgbClr val="08082B"/>
                </a:solidFill>
                <a:latin typeface="Century Gothic" panose="020B0502020202020204" pitchFamily="34" charset="0"/>
              </a:rPr>
              <a:t>voluptaerum</a:t>
            </a:r>
            <a:endParaRPr lang="fr-CA" dirty="0"/>
          </a:p>
        </p:txBody>
      </p:sp>
      <p:sp>
        <p:nvSpPr>
          <p:cNvPr id="13" name="Espace réservé du texte 8">
            <a:extLst>
              <a:ext uri="{FF2B5EF4-FFF2-40B4-BE49-F238E27FC236}">
                <a16:creationId xmlns:a16="http://schemas.microsoft.com/office/drawing/2014/main" id="{9B76371A-247B-47BA-98A0-14CE8634409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92931" y="237296"/>
            <a:ext cx="7488832" cy="432047"/>
          </a:xfrm>
        </p:spPr>
        <p:txBody>
          <a:bodyPr anchor="b" anchorCtr="0"/>
          <a:lstStyle>
            <a:lvl1pPr>
              <a:defRPr sz="240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fr-CA" dirty="0"/>
              <a:t>Titre de slide</a:t>
            </a:r>
          </a:p>
        </p:txBody>
      </p:sp>
    </p:spTree>
    <p:extLst>
      <p:ext uri="{BB962C8B-B14F-4D97-AF65-F5344CB8AC3E}">
        <p14:creationId xmlns:p14="http://schemas.microsoft.com/office/powerpoint/2010/main" val="152017984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ge graphique - fond blanc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93A95E5F-6894-4E42-BA80-A12F6FE7F598}"/>
              </a:ext>
            </a:extLst>
          </p:cNvPr>
          <p:cNvSpPr/>
          <p:nvPr userDrawn="1"/>
        </p:nvSpPr>
        <p:spPr bwMode="auto">
          <a:xfrm>
            <a:off x="0" y="0"/>
            <a:ext cx="10369153" cy="909514"/>
          </a:xfrm>
          <a:prstGeom prst="rect">
            <a:avLst/>
          </a:prstGeom>
          <a:solidFill>
            <a:srgbClr val="07072B"/>
          </a:solidFill>
          <a:ln w="9525">
            <a:solidFill>
              <a:schemeClr val="tx2"/>
            </a:solidFill>
            <a:round/>
            <a:headEnd/>
            <a:tailEnd/>
          </a:ln>
        </p:spPr>
        <p:txBody>
          <a:bodyPr wrap="none" rtlCol="0" anchor="ctr"/>
          <a:lstStyle/>
          <a:p>
            <a:pPr algn="ctr"/>
            <a:endParaRPr lang="fr-CA" dirty="0"/>
          </a:p>
        </p:txBody>
      </p:sp>
      <p:pic>
        <p:nvPicPr>
          <p:cNvPr id="6" name="Objet 3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588" y="1588"/>
            <a:ext cx="1587" cy="1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Freeform 5"/>
          <p:cNvSpPr>
            <a:spLocks/>
          </p:cNvSpPr>
          <p:nvPr userDrawn="1"/>
        </p:nvSpPr>
        <p:spPr bwMode="auto">
          <a:xfrm>
            <a:off x="4067175" y="2243138"/>
            <a:ext cx="0" cy="0"/>
          </a:xfrm>
          <a:custGeom>
            <a:avLst/>
            <a:gdLst>
              <a:gd name="T0" fmla="*/ 0 60000 65536"/>
              <a:gd name="T1" fmla="*/ 0 60000 65536"/>
              <a:gd name="T2" fmla="*/ 0 60000 65536"/>
            </a:gdLst>
            <a:ahLst/>
            <a:cxnLst>
              <a:cxn ang="T0">
                <a:pos x="0" y="0"/>
              </a:cxn>
              <a:cxn ang="T1">
                <a:pos x="0" y="0"/>
              </a:cxn>
              <a:cxn ang="T2">
                <a:pos x="0" y="0"/>
              </a:cxn>
            </a:cxnLst>
            <a:rect l="0" t="0" r="r" b="b"/>
            <a:pathLst>
              <a:path>
                <a:moveTo>
                  <a:pt x="0" y="0"/>
                </a:moveTo>
                <a:cubicBezTo>
                  <a:pt x="0" y="0"/>
                  <a:pt x="0" y="0"/>
                  <a:pt x="0" y="0"/>
                </a:cubicBezTo>
                <a:cubicBezTo>
                  <a:pt x="0" y="0"/>
                  <a:pt x="0" y="0"/>
                  <a:pt x="0" y="0"/>
                </a:cubicBezTo>
                <a:close/>
              </a:path>
            </a:pathLst>
          </a:custGeom>
          <a:solidFill>
            <a:srgbClr val="FFFFFF"/>
          </a:solidFill>
          <a:ln w="9525">
            <a:noFill/>
            <a:round/>
            <a:headEnd/>
            <a:tailEnd/>
          </a:ln>
        </p:spPr>
        <p:txBody>
          <a:bodyPr lIns="102363" tIns="51178" rIns="102363" bIns="51178"/>
          <a:lstStyle/>
          <a:p>
            <a:endParaRPr lang="en-GB" dirty="0"/>
          </a:p>
        </p:txBody>
      </p:sp>
      <p:sp>
        <p:nvSpPr>
          <p:cNvPr id="11" name="Freeform 6"/>
          <p:cNvSpPr>
            <a:spLocks/>
          </p:cNvSpPr>
          <p:nvPr userDrawn="1"/>
        </p:nvSpPr>
        <p:spPr bwMode="auto">
          <a:xfrm>
            <a:off x="4032250" y="1962150"/>
            <a:ext cx="0" cy="0"/>
          </a:xfrm>
          <a:custGeom>
            <a:avLst/>
            <a:gdLst>
              <a:gd name="T0" fmla="*/ 0 60000 65536"/>
              <a:gd name="T1" fmla="*/ 0 60000 65536"/>
              <a:gd name="T2" fmla="*/ 0 60000 65536"/>
            </a:gdLst>
            <a:ahLst/>
            <a:cxnLst>
              <a:cxn ang="T0">
                <a:pos x="0" y="0"/>
              </a:cxn>
              <a:cxn ang="T1">
                <a:pos x="0" y="0"/>
              </a:cxn>
              <a:cxn ang="T2">
                <a:pos x="0" y="0"/>
              </a:cxn>
            </a:cxnLst>
            <a:rect l="0" t="0" r="r" b="b"/>
            <a:pathLst>
              <a:path>
                <a:moveTo>
                  <a:pt x="0" y="0"/>
                </a:moveTo>
                <a:cubicBezTo>
                  <a:pt x="0" y="0"/>
                  <a:pt x="0" y="0"/>
                  <a:pt x="0" y="0"/>
                </a:cubicBezTo>
                <a:cubicBezTo>
                  <a:pt x="0" y="0"/>
                  <a:pt x="0" y="0"/>
                  <a:pt x="0" y="0"/>
                </a:cubicBezTo>
                <a:close/>
              </a:path>
            </a:pathLst>
          </a:custGeom>
          <a:solidFill>
            <a:srgbClr val="FFFFFF"/>
          </a:solidFill>
          <a:ln w="9525">
            <a:noFill/>
            <a:round/>
            <a:headEnd/>
            <a:tailEnd/>
          </a:ln>
        </p:spPr>
        <p:txBody>
          <a:bodyPr lIns="102363" tIns="51178" rIns="102363" bIns="51178"/>
          <a:lstStyle/>
          <a:p>
            <a:endParaRPr lang="en-GB" dirty="0"/>
          </a:p>
        </p:txBody>
      </p:sp>
      <p:sp>
        <p:nvSpPr>
          <p:cNvPr id="27" name="Espace réservé du numéro de diapositive 26">
            <a:extLst>
              <a:ext uri="{FF2B5EF4-FFF2-40B4-BE49-F238E27FC236}">
                <a16:creationId xmlns:a16="http://schemas.microsoft.com/office/drawing/2014/main" id="{2DEBE434-B189-41F7-9989-933C9601248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11570195" y="6454130"/>
            <a:ext cx="539750" cy="335892"/>
          </a:xfrm>
          <a:prstGeom prst="rect">
            <a:avLst/>
          </a:prstGeom>
        </p:spPr>
        <p:txBody>
          <a:bodyPr lIns="91434" tIns="45717" rIns="91434" bIns="45717" anchor="b" anchorCtr="0"/>
          <a:lstStyle>
            <a:lvl1pPr>
              <a:defRPr sz="800">
                <a:solidFill>
                  <a:srgbClr val="222644"/>
                </a:solidFill>
                <a:latin typeface="Century Gothic" panose="020B0502020202020204" pitchFamily="34" charset="0"/>
              </a:defRPr>
            </a:lvl1pPr>
          </a:lstStyle>
          <a:p>
            <a:pPr algn="r">
              <a:defRPr/>
            </a:pPr>
            <a:fld id="{BC240EC6-B97B-449A-9055-D713C252FD31}" type="slidenum">
              <a:rPr lang="fr-CA" altLang="fr-FR" smtClean="0"/>
              <a:pPr algn="r">
                <a:defRPr/>
              </a:pPr>
              <a:t>‹#›</a:t>
            </a:fld>
            <a:endParaRPr lang="fr-CA" altLang="fr-FR" dirty="0"/>
          </a:p>
        </p:txBody>
      </p:sp>
      <p:sp>
        <p:nvSpPr>
          <p:cNvPr id="12" name="Espace réservé du contenu 16">
            <a:extLst>
              <a:ext uri="{FF2B5EF4-FFF2-40B4-BE49-F238E27FC236}">
                <a16:creationId xmlns:a16="http://schemas.microsoft.com/office/drawing/2014/main" id="{F9E433C0-A231-4AC8-B431-1E603782C983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877044" y="1054101"/>
            <a:ext cx="9469016" cy="1367581"/>
          </a:xfrm>
        </p:spPr>
        <p:txBody>
          <a:bodyPr anchor="t" anchorCtr="0"/>
          <a:lstStyle>
            <a:lvl1pPr algn="l">
              <a:defRPr sz="4000">
                <a:solidFill>
                  <a:srgbClr val="07072B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fr-CA" dirty="0"/>
              <a:t>Page texte avec long titre et photo </a:t>
            </a:r>
            <a:r>
              <a:rPr lang="fr-CA" dirty="0" err="1"/>
              <a:t>lorem</a:t>
            </a:r>
            <a:r>
              <a:rPr lang="fr-CA" dirty="0"/>
              <a:t> </a:t>
            </a:r>
            <a:r>
              <a:rPr lang="fr-CA" dirty="0" err="1"/>
              <a:t>ipsum</a:t>
            </a:r>
            <a:r>
              <a:rPr lang="fr-CA" dirty="0"/>
              <a:t> </a:t>
            </a:r>
            <a:r>
              <a:rPr lang="fr-CA" dirty="0" err="1"/>
              <a:t>dolor</a:t>
            </a:r>
            <a:r>
              <a:rPr lang="fr-CA" dirty="0"/>
              <a:t> </a:t>
            </a:r>
            <a:r>
              <a:rPr lang="fr-CA" dirty="0" err="1"/>
              <a:t>sit</a:t>
            </a:r>
            <a:r>
              <a:rPr lang="fr-CA" dirty="0"/>
              <a:t> </a:t>
            </a:r>
            <a:r>
              <a:rPr lang="fr-CA" dirty="0" err="1"/>
              <a:t>amet</a:t>
            </a:r>
            <a:r>
              <a:rPr lang="fr-CA" dirty="0"/>
              <a:t>.</a:t>
            </a:r>
          </a:p>
        </p:txBody>
      </p:sp>
      <p:sp>
        <p:nvSpPr>
          <p:cNvPr id="13" name="Espace réservé du texte 8">
            <a:extLst>
              <a:ext uri="{FF2B5EF4-FFF2-40B4-BE49-F238E27FC236}">
                <a16:creationId xmlns:a16="http://schemas.microsoft.com/office/drawing/2014/main" id="{DFB25F9C-7D34-4E31-87EA-0E0C68D9D43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92931" y="214803"/>
            <a:ext cx="7488832" cy="478688"/>
          </a:xfrm>
        </p:spPr>
        <p:txBody>
          <a:bodyPr anchor="b" anchorCtr="0"/>
          <a:lstStyle>
            <a:lvl1pPr>
              <a:defRPr sz="2800">
                <a:solidFill>
                  <a:srgbClr val="B3C3D8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fr-CA" dirty="0"/>
              <a:t>Titre de slide</a:t>
            </a:r>
          </a:p>
        </p:txBody>
      </p:sp>
    </p:spTree>
    <p:extLst>
      <p:ext uri="{BB962C8B-B14F-4D97-AF65-F5344CB8AC3E}">
        <p14:creationId xmlns:p14="http://schemas.microsoft.com/office/powerpoint/2010/main" val="404049975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ge graphique - fond couleur">
    <p:bg>
      <p:bgPr>
        <a:solidFill>
          <a:srgbClr val="D1A69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Objet 3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588" y="1588"/>
            <a:ext cx="1587" cy="1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Freeform 5"/>
          <p:cNvSpPr>
            <a:spLocks/>
          </p:cNvSpPr>
          <p:nvPr userDrawn="1"/>
        </p:nvSpPr>
        <p:spPr bwMode="auto">
          <a:xfrm>
            <a:off x="4067175" y="2243138"/>
            <a:ext cx="0" cy="0"/>
          </a:xfrm>
          <a:custGeom>
            <a:avLst/>
            <a:gdLst>
              <a:gd name="T0" fmla="*/ 0 60000 65536"/>
              <a:gd name="T1" fmla="*/ 0 60000 65536"/>
              <a:gd name="T2" fmla="*/ 0 60000 65536"/>
            </a:gdLst>
            <a:ahLst/>
            <a:cxnLst>
              <a:cxn ang="T0">
                <a:pos x="0" y="0"/>
              </a:cxn>
              <a:cxn ang="T1">
                <a:pos x="0" y="0"/>
              </a:cxn>
              <a:cxn ang="T2">
                <a:pos x="0" y="0"/>
              </a:cxn>
            </a:cxnLst>
            <a:rect l="0" t="0" r="r" b="b"/>
            <a:pathLst>
              <a:path>
                <a:moveTo>
                  <a:pt x="0" y="0"/>
                </a:moveTo>
                <a:cubicBezTo>
                  <a:pt x="0" y="0"/>
                  <a:pt x="0" y="0"/>
                  <a:pt x="0" y="0"/>
                </a:cubicBezTo>
                <a:cubicBezTo>
                  <a:pt x="0" y="0"/>
                  <a:pt x="0" y="0"/>
                  <a:pt x="0" y="0"/>
                </a:cubicBezTo>
                <a:close/>
              </a:path>
            </a:pathLst>
          </a:custGeom>
          <a:solidFill>
            <a:srgbClr val="FFFFFF"/>
          </a:solidFill>
          <a:ln w="9525">
            <a:noFill/>
            <a:round/>
            <a:headEnd/>
            <a:tailEnd/>
          </a:ln>
        </p:spPr>
        <p:txBody>
          <a:bodyPr lIns="102363" tIns="51178" rIns="102363" bIns="51178"/>
          <a:lstStyle/>
          <a:p>
            <a:endParaRPr lang="en-GB" dirty="0"/>
          </a:p>
        </p:txBody>
      </p:sp>
      <p:sp>
        <p:nvSpPr>
          <p:cNvPr id="11" name="Freeform 6"/>
          <p:cNvSpPr>
            <a:spLocks/>
          </p:cNvSpPr>
          <p:nvPr userDrawn="1"/>
        </p:nvSpPr>
        <p:spPr bwMode="auto">
          <a:xfrm>
            <a:off x="4032250" y="1962150"/>
            <a:ext cx="0" cy="0"/>
          </a:xfrm>
          <a:custGeom>
            <a:avLst/>
            <a:gdLst>
              <a:gd name="T0" fmla="*/ 0 60000 65536"/>
              <a:gd name="T1" fmla="*/ 0 60000 65536"/>
              <a:gd name="T2" fmla="*/ 0 60000 65536"/>
            </a:gdLst>
            <a:ahLst/>
            <a:cxnLst>
              <a:cxn ang="T0">
                <a:pos x="0" y="0"/>
              </a:cxn>
              <a:cxn ang="T1">
                <a:pos x="0" y="0"/>
              </a:cxn>
              <a:cxn ang="T2">
                <a:pos x="0" y="0"/>
              </a:cxn>
            </a:cxnLst>
            <a:rect l="0" t="0" r="r" b="b"/>
            <a:pathLst>
              <a:path>
                <a:moveTo>
                  <a:pt x="0" y="0"/>
                </a:moveTo>
                <a:cubicBezTo>
                  <a:pt x="0" y="0"/>
                  <a:pt x="0" y="0"/>
                  <a:pt x="0" y="0"/>
                </a:cubicBezTo>
                <a:cubicBezTo>
                  <a:pt x="0" y="0"/>
                  <a:pt x="0" y="0"/>
                  <a:pt x="0" y="0"/>
                </a:cubicBezTo>
                <a:close/>
              </a:path>
            </a:pathLst>
          </a:custGeom>
          <a:solidFill>
            <a:srgbClr val="FFFFFF"/>
          </a:solidFill>
          <a:ln w="9525">
            <a:noFill/>
            <a:round/>
            <a:headEnd/>
            <a:tailEnd/>
          </a:ln>
        </p:spPr>
        <p:txBody>
          <a:bodyPr lIns="102363" tIns="51178" rIns="102363" bIns="51178"/>
          <a:lstStyle/>
          <a:p>
            <a:endParaRPr lang="en-GB" dirty="0"/>
          </a:p>
        </p:txBody>
      </p:sp>
      <p:sp>
        <p:nvSpPr>
          <p:cNvPr id="27" name="Espace réservé du numéro de diapositive 26">
            <a:extLst>
              <a:ext uri="{FF2B5EF4-FFF2-40B4-BE49-F238E27FC236}">
                <a16:creationId xmlns:a16="http://schemas.microsoft.com/office/drawing/2014/main" id="{2DEBE434-B189-41F7-9989-933C9601248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11578778" y="6454130"/>
            <a:ext cx="539750" cy="335892"/>
          </a:xfrm>
          <a:prstGeom prst="rect">
            <a:avLst/>
          </a:prstGeom>
        </p:spPr>
        <p:txBody>
          <a:bodyPr lIns="91434" tIns="45717" rIns="91434" bIns="45717" anchor="b" anchorCtr="0"/>
          <a:lstStyle>
            <a:lvl1pPr>
              <a:defRPr sz="800">
                <a:solidFill>
                  <a:srgbClr val="222644"/>
                </a:solidFill>
                <a:latin typeface="Century Gothic" panose="020B0502020202020204" pitchFamily="34" charset="0"/>
              </a:defRPr>
            </a:lvl1pPr>
          </a:lstStyle>
          <a:p>
            <a:pPr algn="r">
              <a:defRPr/>
            </a:pPr>
            <a:fld id="{89AA4CF2-98ED-4480-867D-4533B78D23B5}" type="slidenum">
              <a:rPr lang="fr-CA" altLang="fr-FR" smtClean="0"/>
              <a:pPr algn="r">
                <a:defRPr/>
              </a:pPr>
              <a:t>‹#›</a:t>
            </a:fld>
            <a:endParaRPr lang="fr-CA" altLang="fr-FR" dirty="0"/>
          </a:p>
        </p:txBody>
      </p:sp>
      <p:sp>
        <p:nvSpPr>
          <p:cNvPr id="28" name="Espace réservé du numéro de diapositive 2">
            <a:extLst>
              <a:ext uri="{FF2B5EF4-FFF2-40B4-BE49-F238E27FC236}">
                <a16:creationId xmlns:a16="http://schemas.microsoft.com/office/drawing/2014/main" id="{E2BDDB7F-3333-473B-98EA-3CB197EAF1F5}"/>
              </a:ext>
            </a:extLst>
          </p:cNvPr>
          <p:cNvSpPr txBox="1">
            <a:spLocks/>
          </p:cNvSpPr>
          <p:nvPr userDrawn="1"/>
        </p:nvSpPr>
        <p:spPr>
          <a:xfrm>
            <a:off x="616397" y="6510338"/>
            <a:ext cx="539750" cy="363537"/>
          </a:xfrm>
          <a:prstGeom prst="rect">
            <a:avLst/>
          </a:prstGeom>
        </p:spPr>
        <p:txBody>
          <a:bodyPr vert="horz" wrap="square" lIns="120902" tIns="60451" rIns="120902" bIns="60451" numCol="1" anchor="ctr" anchorCtr="0" compatLnSpc="1">
            <a:prstTxWarp prst="textNoShape">
              <a:avLst/>
            </a:prstTxWarp>
            <a:noAutofit/>
          </a:bodyPr>
          <a:lstStyle>
            <a:defPPr>
              <a:defRPr lang="fr-FR"/>
            </a:defPPr>
            <a:lvl1pPr algn="l" defTabSz="1217613" rtl="0" eaLnBrk="1" fontAlgn="base" hangingPunct="1">
              <a:spcBef>
                <a:spcPct val="0"/>
              </a:spcBef>
              <a:spcAft>
                <a:spcPct val="0"/>
              </a:spcAft>
              <a:defRPr sz="900" kern="1200" smtClean="0">
                <a:solidFill>
                  <a:schemeClr val="bg1">
                    <a:lumMod val="7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08013" indent="-150813" algn="l" defTabSz="1217613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2pPr>
            <a:lvl3pPr marL="1217613" indent="-303213" algn="l" defTabSz="1217613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3pPr>
            <a:lvl4pPr marL="1827213" indent="-455613" algn="l" defTabSz="1217613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4pPr>
            <a:lvl5pPr marL="2436813" indent="-608013" algn="l" defTabSz="1217613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9pPr>
          </a:lstStyle>
          <a:p>
            <a:pPr>
              <a:defRPr/>
            </a:pPr>
            <a:fld id="{5C78C233-16E4-40EE-8E77-456E7AF3EE9A}" type="slidenum">
              <a:rPr lang="fr-CA" altLang="fr-FR" smtClean="0"/>
              <a:pPr>
                <a:defRPr/>
              </a:pPr>
              <a:t>‹#›</a:t>
            </a:fld>
            <a:endParaRPr lang="fr-CA" altLang="fr-FR" dirty="0"/>
          </a:p>
        </p:txBody>
      </p:sp>
      <p:sp>
        <p:nvSpPr>
          <p:cNvPr id="14" name="Espace réservé du texte 8">
            <a:extLst>
              <a:ext uri="{FF2B5EF4-FFF2-40B4-BE49-F238E27FC236}">
                <a16:creationId xmlns:a16="http://schemas.microsoft.com/office/drawing/2014/main" id="{74E2176F-A29C-4439-B4BB-CDEC9D46B4A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92931" y="237296"/>
            <a:ext cx="7488832" cy="432047"/>
          </a:xfrm>
        </p:spPr>
        <p:txBody>
          <a:bodyPr anchor="b" anchorCtr="0"/>
          <a:lstStyle>
            <a:lvl1pPr>
              <a:defRPr sz="2400">
                <a:solidFill>
                  <a:srgbClr val="07072B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fr-CA" dirty="0"/>
              <a:t>Titre de slide</a:t>
            </a:r>
          </a:p>
        </p:txBody>
      </p:sp>
    </p:spTree>
    <p:extLst>
      <p:ext uri="{BB962C8B-B14F-4D97-AF65-F5344CB8AC3E}">
        <p14:creationId xmlns:p14="http://schemas.microsoft.com/office/powerpoint/2010/main" val="343708957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ge technologie">
    <p:bg>
      <p:bgPr>
        <a:solidFill>
          <a:srgbClr val="7A96B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Objet 3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588" y="1588"/>
            <a:ext cx="1587" cy="1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7" name="Espace réservé du numéro de diapositive 26">
            <a:extLst>
              <a:ext uri="{FF2B5EF4-FFF2-40B4-BE49-F238E27FC236}">
                <a16:creationId xmlns:a16="http://schemas.microsoft.com/office/drawing/2014/main" id="{2DEBE434-B189-41F7-9989-933C9601248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11570195" y="6454130"/>
            <a:ext cx="539750" cy="335892"/>
          </a:xfrm>
          <a:prstGeom prst="rect">
            <a:avLst/>
          </a:prstGeom>
        </p:spPr>
        <p:txBody>
          <a:bodyPr lIns="91434" tIns="45717" rIns="91434" bIns="45717" anchor="b" anchorCtr="0"/>
          <a:lstStyle>
            <a:lvl1pPr>
              <a:defRPr sz="80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pPr algn="r">
              <a:defRPr/>
            </a:pPr>
            <a:fld id="{89AA4CF2-98ED-4480-867D-4533B78D23B5}" type="slidenum">
              <a:rPr lang="fr-CA" altLang="fr-FR" smtClean="0"/>
              <a:pPr algn="r">
                <a:defRPr/>
              </a:pPr>
              <a:t>‹#›</a:t>
            </a:fld>
            <a:endParaRPr lang="fr-CA" altLang="fr-FR" dirty="0"/>
          </a:p>
        </p:txBody>
      </p:sp>
      <p:sp>
        <p:nvSpPr>
          <p:cNvPr id="8" name="Espace réservé du texte 8">
            <a:extLst>
              <a:ext uri="{FF2B5EF4-FFF2-40B4-BE49-F238E27FC236}">
                <a16:creationId xmlns:a16="http://schemas.microsoft.com/office/drawing/2014/main" id="{67B541FC-D4C1-4CEF-B2F2-C043B262801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92931" y="237296"/>
            <a:ext cx="7488832" cy="432047"/>
          </a:xfrm>
        </p:spPr>
        <p:txBody>
          <a:bodyPr anchor="b" anchorCtr="0"/>
          <a:lstStyle>
            <a:lvl1pPr>
              <a:defRPr sz="240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fr-CA" dirty="0"/>
              <a:t>Titre de slide</a:t>
            </a:r>
          </a:p>
        </p:txBody>
      </p:sp>
    </p:spTree>
    <p:extLst>
      <p:ext uri="{BB962C8B-B14F-4D97-AF65-F5344CB8AC3E}">
        <p14:creationId xmlns:p14="http://schemas.microsoft.com/office/powerpoint/2010/main" val="137381989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itation">
    <p:bg>
      <p:bgPr>
        <a:solidFill>
          <a:srgbClr val="07072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Objet 3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588" y="1588"/>
            <a:ext cx="1587" cy="1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7" name="Espace réservé du numéro de diapositive 26">
            <a:extLst>
              <a:ext uri="{FF2B5EF4-FFF2-40B4-BE49-F238E27FC236}">
                <a16:creationId xmlns:a16="http://schemas.microsoft.com/office/drawing/2014/main" id="{2DEBE434-B189-41F7-9989-933C9601248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11570195" y="6454130"/>
            <a:ext cx="539750" cy="335892"/>
          </a:xfrm>
          <a:prstGeom prst="rect">
            <a:avLst/>
          </a:prstGeom>
        </p:spPr>
        <p:txBody>
          <a:bodyPr lIns="91434" tIns="45717" rIns="91434" bIns="45717" anchor="b" anchorCtr="0"/>
          <a:lstStyle>
            <a:lvl1pPr>
              <a:defRPr sz="80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pPr algn="r">
              <a:defRPr/>
            </a:pPr>
            <a:fld id="{89AA4CF2-98ED-4480-867D-4533B78D23B5}" type="slidenum">
              <a:rPr lang="fr-CA" altLang="fr-FR" smtClean="0"/>
              <a:pPr algn="r">
                <a:defRPr/>
              </a:pPr>
              <a:t>‹#›</a:t>
            </a:fld>
            <a:endParaRPr lang="fr-CA" altLang="fr-FR" dirty="0"/>
          </a:p>
        </p:txBody>
      </p:sp>
      <p:sp>
        <p:nvSpPr>
          <p:cNvPr id="12" name="Espace réservé du contenu 14">
            <a:extLst>
              <a:ext uri="{FF2B5EF4-FFF2-40B4-BE49-F238E27FC236}">
                <a16:creationId xmlns:a16="http://schemas.microsoft.com/office/drawing/2014/main" id="{64865654-54EB-4D73-85AD-C8552CCF7127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1812926" y="2493691"/>
            <a:ext cx="8569324" cy="2951163"/>
          </a:xfrm>
        </p:spPr>
        <p:txBody>
          <a:bodyPr/>
          <a:lstStyle>
            <a:lvl1pPr algn="ctr">
              <a:defRPr sz="4000">
                <a:solidFill>
                  <a:srgbClr val="B1BFD3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da-DK" dirty="0"/>
              <a:t>Citation lorem ipsum dolor sit </a:t>
            </a:r>
          </a:p>
          <a:p>
            <a:pPr lvl="0"/>
            <a:r>
              <a:rPr lang="da-DK" dirty="0"/>
              <a:t>amet lorem ipsum dolor sit amet </a:t>
            </a:r>
          </a:p>
          <a:p>
            <a:pPr lvl="0"/>
            <a:r>
              <a:rPr lang="da-DK" dirty="0"/>
              <a:t>lorem ipsum dolor sit amet.</a:t>
            </a:r>
            <a:endParaRPr lang="fr-CA" dirty="0"/>
          </a:p>
        </p:txBody>
      </p:sp>
      <p:sp>
        <p:nvSpPr>
          <p:cNvPr id="8" name="Espace réservé du texte 8">
            <a:extLst>
              <a:ext uri="{FF2B5EF4-FFF2-40B4-BE49-F238E27FC236}">
                <a16:creationId xmlns:a16="http://schemas.microsoft.com/office/drawing/2014/main" id="{5E9E7602-B7B2-4AE8-BEB6-6F6159180FE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92931" y="237296"/>
            <a:ext cx="7488832" cy="432047"/>
          </a:xfrm>
        </p:spPr>
        <p:txBody>
          <a:bodyPr anchor="b" anchorCtr="0"/>
          <a:lstStyle>
            <a:lvl1pPr>
              <a:defRPr sz="240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fr-CA" dirty="0"/>
              <a:t>Titre de slide</a:t>
            </a:r>
          </a:p>
        </p:txBody>
      </p:sp>
    </p:spTree>
    <p:extLst>
      <p:ext uri="{BB962C8B-B14F-4D97-AF65-F5344CB8AC3E}">
        <p14:creationId xmlns:p14="http://schemas.microsoft.com/office/powerpoint/2010/main" val="385142681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ge v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Objet 4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589" y="1588"/>
            <a:ext cx="3175" cy="1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Objet 5"/>
          <p:cNvSpPr>
            <a:spLocks noChangeAspect="1"/>
          </p:cNvSpPr>
          <p:nvPr/>
        </p:nvSpPr>
        <p:spPr bwMode="auto">
          <a:xfrm>
            <a:off x="1589" y="1588"/>
            <a:ext cx="3175" cy="1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34" tIns="45717" rIns="91434" bIns="45717"/>
          <a:lstStyle/>
          <a:p>
            <a:endParaRPr lang="fr-CA" altLang="fr-FR" dirty="0"/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ge photo pleine p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pour une image  2">
            <a:extLst>
              <a:ext uri="{FF2B5EF4-FFF2-40B4-BE49-F238E27FC236}">
                <a16:creationId xmlns:a16="http://schemas.microsoft.com/office/drawing/2014/main" id="{9139BF99-67D0-4E17-B64D-BA79DB967C4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5175" cy="6859588"/>
          </a:xfrm>
        </p:spPr>
        <p:txBody>
          <a:bodyPr/>
          <a:lstStyle/>
          <a:p>
            <a:r>
              <a:rPr lang="fr-FR" dirty="0"/>
              <a:t>Cliquez sur l'icône pour ajouter une image</a:t>
            </a:r>
            <a:endParaRPr lang="fr-CA" dirty="0"/>
          </a:p>
        </p:txBody>
      </p:sp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Page section C">
    <p:bg>
      <p:bgPr>
        <a:gradFill>
          <a:gsLst>
            <a:gs pos="0">
              <a:srgbClr val="076CA3"/>
            </a:gs>
            <a:gs pos="100000">
              <a:srgbClr val="07072B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 2">
            <a:extLst>
              <a:ext uri="{FF2B5EF4-FFF2-40B4-BE49-F238E27FC236}">
                <a16:creationId xmlns:a16="http://schemas.microsoft.com/office/drawing/2014/main" id="{43A1C648-BE9E-4056-A46A-82E38542037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1299"/>
          <a:stretch/>
        </p:blipFill>
        <p:spPr>
          <a:xfrm>
            <a:off x="985020" y="285987"/>
            <a:ext cx="440937" cy="263488"/>
          </a:xfrm>
          <a:prstGeom prst="rect">
            <a:avLst/>
          </a:prstGeom>
        </p:spPr>
      </p:pic>
      <p:pic>
        <p:nvPicPr>
          <p:cNvPr id="6" name="Objet 3"/>
          <p:cNvPicPr>
            <a:picLocks noChangeAspect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1588" y="1588"/>
            <a:ext cx="1587" cy="1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Freeform 5"/>
          <p:cNvSpPr>
            <a:spLocks/>
          </p:cNvSpPr>
          <p:nvPr userDrawn="1"/>
        </p:nvSpPr>
        <p:spPr bwMode="auto">
          <a:xfrm>
            <a:off x="4067175" y="2243138"/>
            <a:ext cx="0" cy="0"/>
          </a:xfrm>
          <a:custGeom>
            <a:avLst/>
            <a:gdLst>
              <a:gd name="T0" fmla="*/ 0 60000 65536"/>
              <a:gd name="T1" fmla="*/ 0 60000 65536"/>
              <a:gd name="T2" fmla="*/ 0 60000 65536"/>
            </a:gdLst>
            <a:ahLst/>
            <a:cxnLst>
              <a:cxn ang="T0">
                <a:pos x="0" y="0"/>
              </a:cxn>
              <a:cxn ang="T1">
                <a:pos x="0" y="0"/>
              </a:cxn>
              <a:cxn ang="T2">
                <a:pos x="0" y="0"/>
              </a:cxn>
            </a:cxnLst>
            <a:rect l="0" t="0" r="r" b="b"/>
            <a:pathLst>
              <a:path>
                <a:moveTo>
                  <a:pt x="0" y="0"/>
                </a:moveTo>
                <a:cubicBezTo>
                  <a:pt x="0" y="0"/>
                  <a:pt x="0" y="0"/>
                  <a:pt x="0" y="0"/>
                </a:cubicBezTo>
                <a:cubicBezTo>
                  <a:pt x="0" y="0"/>
                  <a:pt x="0" y="0"/>
                  <a:pt x="0" y="0"/>
                </a:cubicBezTo>
                <a:close/>
              </a:path>
            </a:pathLst>
          </a:custGeom>
          <a:solidFill>
            <a:srgbClr val="FFFFFF"/>
          </a:solidFill>
          <a:ln w="9525">
            <a:noFill/>
            <a:round/>
            <a:headEnd/>
            <a:tailEnd/>
          </a:ln>
        </p:spPr>
        <p:txBody>
          <a:bodyPr lIns="102363" tIns="51178" rIns="102363" bIns="51178"/>
          <a:lstStyle/>
          <a:p>
            <a:endParaRPr lang="en-GB"/>
          </a:p>
        </p:txBody>
      </p:sp>
      <p:sp>
        <p:nvSpPr>
          <p:cNvPr id="11" name="Freeform 6"/>
          <p:cNvSpPr>
            <a:spLocks/>
          </p:cNvSpPr>
          <p:nvPr userDrawn="1"/>
        </p:nvSpPr>
        <p:spPr bwMode="auto">
          <a:xfrm>
            <a:off x="4032250" y="1962150"/>
            <a:ext cx="0" cy="0"/>
          </a:xfrm>
          <a:custGeom>
            <a:avLst/>
            <a:gdLst>
              <a:gd name="T0" fmla="*/ 0 60000 65536"/>
              <a:gd name="T1" fmla="*/ 0 60000 65536"/>
              <a:gd name="T2" fmla="*/ 0 60000 65536"/>
            </a:gdLst>
            <a:ahLst/>
            <a:cxnLst>
              <a:cxn ang="T0">
                <a:pos x="0" y="0"/>
              </a:cxn>
              <a:cxn ang="T1">
                <a:pos x="0" y="0"/>
              </a:cxn>
              <a:cxn ang="T2">
                <a:pos x="0" y="0"/>
              </a:cxn>
            </a:cxnLst>
            <a:rect l="0" t="0" r="r" b="b"/>
            <a:pathLst>
              <a:path>
                <a:moveTo>
                  <a:pt x="0" y="0"/>
                </a:moveTo>
                <a:cubicBezTo>
                  <a:pt x="0" y="0"/>
                  <a:pt x="0" y="0"/>
                  <a:pt x="0" y="0"/>
                </a:cubicBezTo>
                <a:cubicBezTo>
                  <a:pt x="0" y="0"/>
                  <a:pt x="0" y="0"/>
                  <a:pt x="0" y="0"/>
                </a:cubicBezTo>
                <a:close/>
              </a:path>
            </a:pathLst>
          </a:custGeom>
          <a:solidFill>
            <a:srgbClr val="FFFFFF"/>
          </a:solidFill>
          <a:ln w="9525">
            <a:noFill/>
            <a:round/>
            <a:headEnd/>
            <a:tailEnd/>
          </a:ln>
        </p:spPr>
        <p:txBody>
          <a:bodyPr lIns="102363" tIns="51178" rIns="102363" bIns="51178"/>
          <a:lstStyle/>
          <a:p>
            <a:endParaRPr lang="en-GB"/>
          </a:p>
        </p:txBody>
      </p:sp>
      <p:sp>
        <p:nvSpPr>
          <p:cNvPr id="15" name="Espace réservé du contenu 14">
            <a:extLst>
              <a:ext uri="{FF2B5EF4-FFF2-40B4-BE49-F238E27FC236}">
                <a16:creationId xmlns:a16="http://schemas.microsoft.com/office/drawing/2014/main" id="{8E6D8F5F-AE41-47A6-B8D2-85F5131EBCE3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1812926" y="2854325"/>
            <a:ext cx="8569324" cy="2951163"/>
          </a:xfrm>
        </p:spPr>
        <p:txBody>
          <a:bodyPr/>
          <a:lstStyle>
            <a:lvl1pPr algn="ctr">
              <a:defRPr sz="4000">
                <a:solidFill>
                  <a:srgbClr val="B1BFD3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da-DK"/>
              <a:t>Lorem ipsum dolor sit </a:t>
            </a:r>
          </a:p>
          <a:p>
            <a:pPr lvl="0"/>
            <a:r>
              <a:rPr lang="da-DK"/>
              <a:t>lorem ipsum dolor sit amet.</a:t>
            </a:r>
            <a:endParaRPr lang="fr-CA"/>
          </a:p>
        </p:txBody>
      </p:sp>
    </p:spTree>
    <p:extLst>
      <p:ext uri="{BB962C8B-B14F-4D97-AF65-F5344CB8AC3E}">
        <p14:creationId xmlns:p14="http://schemas.microsoft.com/office/powerpoint/2010/main" val="427626580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able des matières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F59E769B-3B04-4AA2-B186-6A7DB1B3D343}"/>
              </a:ext>
            </a:extLst>
          </p:cNvPr>
          <p:cNvSpPr/>
          <p:nvPr userDrawn="1"/>
        </p:nvSpPr>
        <p:spPr bwMode="auto">
          <a:xfrm>
            <a:off x="-1" y="0"/>
            <a:ext cx="3704735" cy="6858000"/>
          </a:xfrm>
          <a:prstGeom prst="rect">
            <a:avLst/>
          </a:prstGeom>
          <a:solidFill>
            <a:srgbClr val="07072B"/>
          </a:solidFill>
          <a:ln w="9525">
            <a:solidFill>
              <a:schemeClr val="tx2"/>
            </a:solidFill>
            <a:round/>
            <a:headEnd/>
            <a:tailEnd/>
          </a:ln>
        </p:spPr>
        <p:txBody>
          <a:bodyPr wrap="none" rtlCol="0" anchor="ctr"/>
          <a:lstStyle/>
          <a:p>
            <a:pPr algn="l"/>
            <a:endParaRPr lang="fr-CA" dirty="0"/>
          </a:p>
        </p:txBody>
      </p:sp>
      <p:pic>
        <p:nvPicPr>
          <p:cNvPr id="6" name="Objet 3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588" y="1588"/>
            <a:ext cx="1587" cy="1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Freeform 5"/>
          <p:cNvSpPr>
            <a:spLocks/>
          </p:cNvSpPr>
          <p:nvPr userDrawn="1"/>
        </p:nvSpPr>
        <p:spPr bwMode="auto">
          <a:xfrm>
            <a:off x="4067175" y="2243138"/>
            <a:ext cx="0" cy="0"/>
          </a:xfrm>
          <a:custGeom>
            <a:avLst/>
            <a:gdLst>
              <a:gd name="T0" fmla="*/ 0 60000 65536"/>
              <a:gd name="T1" fmla="*/ 0 60000 65536"/>
              <a:gd name="T2" fmla="*/ 0 60000 65536"/>
            </a:gdLst>
            <a:ahLst/>
            <a:cxnLst>
              <a:cxn ang="T0">
                <a:pos x="0" y="0"/>
              </a:cxn>
              <a:cxn ang="T1">
                <a:pos x="0" y="0"/>
              </a:cxn>
              <a:cxn ang="T2">
                <a:pos x="0" y="0"/>
              </a:cxn>
            </a:cxnLst>
            <a:rect l="0" t="0" r="r" b="b"/>
            <a:pathLst>
              <a:path>
                <a:moveTo>
                  <a:pt x="0" y="0"/>
                </a:moveTo>
                <a:cubicBezTo>
                  <a:pt x="0" y="0"/>
                  <a:pt x="0" y="0"/>
                  <a:pt x="0" y="0"/>
                </a:cubicBezTo>
                <a:cubicBezTo>
                  <a:pt x="0" y="0"/>
                  <a:pt x="0" y="0"/>
                  <a:pt x="0" y="0"/>
                </a:cubicBezTo>
                <a:close/>
              </a:path>
            </a:pathLst>
          </a:custGeom>
          <a:solidFill>
            <a:srgbClr val="FFFFFF"/>
          </a:solidFill>
          <a:ln w="9525">
            <a:noFill/>
            <a:round/>
            <a:headEnd/>
            <a:tailEnd/>
          </a:ln>
        </p:spPr>
        <p:txBody>
          <a:bodyPr lIns="102363" tIns="51178" rIns="102363" bIns="51178"/>
          <a:lstStyle/>
          <a:p>
            <a:endParaRPr lang="en-GB" dirty="0"/>
          </a:p>
        </p:txBody>
      </p:sp>
      <p:sp>
        <p:nvSpPr>
          <p:cNvPr id="11" name="Freeform 6"/>
          <p:cNvSpPr>
            <a:spLocks/>
          </p:cNvSpPr>
          <p:nvPr userDrawn="1"/>
        </p:nvSpPr>
        <p:spPr bwMode="auto">
          <a:xfrm>
            <a:off x="4032250" y="1962150"/>
            <a:ext cx="0" cy="0"/>
          </a:xfrm>
          <a:custGeom>
            <a:avLst/>
            <a:gdLst>
              <a:gd name="T0" fmla="*/ 0 60000 65536"/>
              <a:gd name="T1" fmla="*/ 0 60000 65536"/>
              <a:gd name="T2" fmla="*/ 0 60000 65536"/>
            </a:gdLst>
            <a:ahLst/>
            <a:cxnLst>
              <a:cxn ang="T0">
                <a:pos x="0" y="0"/>
              </a:cxn>
              <a:cxn ang="T1">
                <a:pos x="0" y="0"/>
              </a:cxn>
              <a:cxn ang="T2">
                <a:pos x="0" y="0"/>
              </a:cxn>
            </a:cxnLst>
            <a:rect l="0" t="0" r="r" b="b"/>
            <a:pathLst>
              <a:path>
                <a:moveTo>
                  <a:pt x="0" y="0"/>
                </a:moveTo>
                <a:cubicBezTo>
                  <a:pt x="0" y="0"/>
                  <a:pt x="0" y="0"/>
                  <a:pt x="0" y="0"/>
                </a:cubicBezTo>
                <a:cubicBezTo>
                  <a:pt x="0" y="0"/>
                  <a:pt x="0" y="0"/>
                  <a:pt x="0" y="0"/>
                </a:cubicBezTo>
                <a:close/>
              </a:path>
            </a:pathLst>
          </a:custGeom>
          <a:solidFill>
            <a:srgbClr val="FFFFFF"/>
          </a:solidFill>
          <a:ln w="9525">
            <a:noFill/>
            <a:round/>
            <a:headEnd/>
            <a:tailEnd/>
          </a:ln>
        </p:spPr>
        <p:txBody>
          <a:bodyPr lIns="102363" tIns="51178" rIns="102363" bIns="51178"/>
          <a:lstStyle/>
          <a:p>
            <a:endParaRPr lang="en-GB" dirty="0"/>
          </a:p>
        </p:txBody>
      </p:sp>
      <p:sp>
        <p:nvSpPr>
          <p:cNvPr id="13" name="Espace réservé du texte 8">
            <a:extLst>
              <a:ext uri="{FF2B5EF4-FFF2-40B4-BE49-F238E27FC236}">
                <a16:creationId xmlns:a16="http://schemas.microsoft.com/office/drawing/2014/main" id="{90284A66-0A09-4796-B9ED-31B862D5E8E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92931" y="237296"/>
            <a:ext cx="3312368" cy="432047"/>
          </a:xfrm>
        </p:spPr>
        <p:txBody>
          <a:bodyPr anchor="b" anchorCtr="0"/>
          <a:lstStyle>
            <a:lvl1pPr>
              <a:defRPr sz="2400">
                <a:solidFill>
                  <a:srgbClr val="B3C3D8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fr-CA" dirty="0"/>
              <a:t>Titre de slide</a:t>
            </a:r>
          </a:p>
        </p:txBody>
      </p:sp>
    </p:spTree>
    <p:extLst>
      <p:ext uri="{BB962C8B-B14F-4D97-AF65-F5344CB8AC3E}">
        <p14:creationId xmlns:p14="http://schemas.microsoft.com/office/powerpoint/2010/main" val="130121030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ge v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Objet 4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589" y="1588"/>
            <a:ext cx="3175" cy="1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Objet 5"/>
          <p:cNvSpPr>
            <a:spLocks noChangeAspect="1"/>
          </p:cNvSpPr>
          <p:nvPr/>
        </p:nvSpPr>
        <p:spPr bwMode="auto">
          <a:xfrm>
            <a:off x="1589" y="1588"/>
            <a:ext cx="3175" cy="1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34" tIns="45717" rIns="91434" bIns="45717"/>
          <a:lstStyle/>
          <a:p>
            <a:endParaRPr lang="fr-CA" altLang="fr-FR"/>
          </a:p>
        </p:txBody>
      </p:sp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age section B">
    <p:bg>
      <p:bgPr>
        <a:gradFill>
          <a:gsLst>
            <a:gs pos="0">
              <a:srgbClr val="E7D2CD"/>
            </a:gs>
            <a:gs pos="100000">
              <a:srgbClr val="D1A69D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Objet 3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588" y="1588"/>
            <a:ext cx="1587" cy="1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Freeform 5"/>
          <p:cNvSpPr>
            <a:spLocks/>
          </p:cNvSpPr>
          <p:nvPr userDrawn="1"/>
        </p:nvSpPr>
        <p:spPr bwMode="auto">
          <a:xfrm>
            <a:off x="4067175" y="2243138"/>
            <a:ext cx="0" cy="0"/>
          </a:xfrm>
          <a:custGeom>
            <a:avLst/>
            <a:gdLst>
              <a:gd name="T0" fmla="*/ 0 60000 65536"/>
              <a:gd name="T1" fmla="*/ 0 60000 65536"/>
              <a:gd name="T2" fmla="*/ 0 60000 65536"/>
            </a:gdLst>
            <a:ahLst/>
            <a:cxnLst>
              <a:cxn ang="T0">
                <a:pos x="0" y="0"/>
              </a:cxn>
              <a:cxn ang="T1">
                <a:pos x="0" y="0"/>
              </a:cxn>
              <a:cxn ang="T2">
                <a:pos x="0" y="0"/>
              </a:cxn>
            </a:cxnLst>
            <a:rect l="0" t="0" r="r" b="b"/>
            <a:pathLst>
              <a:path>
                <a:moveTo>
                  <a:pt x="0" y="0"/>
                </a:moveTo>
                <a:cubicBezTo>
                  <a:pt x="0" y="0"/>
                  <a:pt x="0" y="0"/>
                  <a:pt x="0" y="0"/>
                </a:cubicBezTo>
                <a:cubicBezTo>
                  <a:pt x="0" y="0"/>
                  <a:pt x="0" y="0"/>
                  <a:pt x="0" y="0"/>
                </a:cubicBezTo>
                <a:close/>
              </a:path>
            </a:pathLst>
          </a:custGeom>
          <a:solidFill>
            <a:srgbClr val="FFFFFF"/>
          </a:solidFill>
          <a:ln w="9525">
            <a:noFill/>
            <a:round/>
            <a:headEnd/>
            <a:tailEnd/>
          </a:ln>
        </p:spPr>
        <p:txBody>
          <a:bodyPr lIns="102363" tIns="51178" rIns="102363" bIns="51178"/>
          <a:lstStyle/>
          <a:p>
            <a:endParaRPr lang="en-GB"/>
          </a:p>
        </p:txBody>
      </p:sp>
      <p:sp>
        <p:nvSpPr>
          <p:cNvPr id="11" name="Freeform 6"/>
          <p:cNvSpPr>
            <a:spLocks/>
          </p:cNvSpPr>
          <p:nvPr userDrawn="1"/>
        </p:nvSpPr>
        <p:spPr bwMode="auto">
          <a:xfrm>
            <a:off x="4032250" y="1962150"/>
            <a:ext cx="0" cy="0"/>
          </a:xfrm>
          <a:custGeom>
            <a:avLst/>
            <a:gdLst>
              <a:gd name="T0" fmla="*/ 0 60000 65536"/>
              <a:gd name="T1" fmla="*/ 0 60000 65536"/>
              <a:gd name="T2" fmla="*/ 0 60000 65536"/>
            </a:gdLst>
            <a:ahLst/>
            <a:cxnLst>
              <a:cxn ang="T0">
                <a:pos x="0" y="0"/>
              </a:cxn>
              <a:cxn ang="T1">
                <a:pos x="0" y="0"/>
              </a:cxn>
              <a:cxn ang="T2">
                <a:pos x="0" y="0"/>
              </a:cxn>
            </a:cxnLst>
            <a:rect l="0" t="0" r="r" b="b"/>
            <a:pathLst>
              <a:path>
                <a:moveTo>
                  <a:pt x="0" y="0"/>
                </a:moveTo>
                <a:cubicBezTo>
                  <a:pt x="0" y="0"/>
                  <a:pt x="0" y="0"/>
                  <a:pt x="0" y="0"/>
                </a:cubicBezTo>
                <a:cubicBezTo>
                  <a:pt x="0" y="0"/>
                  <a:pt x="0" y="0"/>
                  <a:pt x="0" y="0"/>
                </a:cubicBezTo>
                <a:close/>
              </a:path>
            </a:pathLst>
          </a:custGeom>
          <a:solidFill>
            <a:srgbClr val="FFFFFF"/>
          </a:solidFill>
          <a:ln w="9525">
            <a:noFill/>
            <a:round/>
            <a:headEnd/>
            <a:tailEnd/>
          </a:ln>
        </p:spPr>
        <p:txBody>
          <a:bodyPr lIns="102363" tIns="51178" rIns="102363" bIns="51178"/>
          <a:lstStyle/>
          <a:p>
            <a:endParaRPr lang="en-GB"/>
          </a:p>
        </p:txBody>
      </p:sp>
      <p:sp>
        <p:nvSpPr>
          <p:cNvPr id="9" name="Espace réservé du texte 8">
            <a:extLst>
              <a:ext uri="{FF2B5EF4-FFF2-40B4-BE49-F238E27FC236}">
                <a16:creationId xmlns:a16="http://schemas.microsoft.com/office/drawing/2014/main" id="{611DE428-05D4-42FE-B9C2-02D4220CDC4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777107" y="333451"/>
            <a:ext cx="1872207" cy="287337"/>
          </a:xfrm>
        </p:spPr>
        <p:txBody>
          <a:bodyPr anchor="b" anchorCtr="0"/>
          <a:lstStyle>
            <a:lvl1pPr>
              <a:defRPr sz="800">
                <a:solidFill>
                  <a:srgbClr val="07072B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fr-CA"/>
              <a:t>Page de section</a:t>
            </a:r>
          </a:p>
        </p:txBody>
      </p:sp>
      <p:sp>
        <p:nvSpPr>
          <p:cNvPr id="15" name="Espace réservé du contenu 14">
            <a:extLst>
              <a:ext uri="{FF2B5EF4-FFF2-40B4-BE49-F238E27FC236}">
                <a16:creationId xmlns:a16="http://schemas.microsoft.com/office/drawing/2014/main" id="{8E6D8F5F-AE41-47A6-B8D2-85F5131EBCE3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1812926" y="2854325"/>
            <a:ext cx="8569324" cy="2951163"/>
          </a:xfrm>
        </p:spPr>
        <p:txBody>
          <a:bodyPr/>
          <a:lstStyle>
            <a:lvl1pPr algn="ctr">
              <a:defRPr sz="4000">
                <a:solidFill>
                  <a:srgbClr val="07072B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da-DK"/>
              <a:t>Lorem ipsum dolor sit </a:t>
            </a:r>
          </a:p>
          <a:p>
            <a:pPr lvl="0"/>
            <a:r>
              <a:rPr lang="da-DK"/>
              <a:t>lorem ipsum dolor sit amet.</a:t>
            </a:r>
            <a:endParaRPr lang="fr-CA"/>
          </a:p>
        </p:txBody>
      </p:sp>
      <p:sp>
        <p:nvSpPr>
          <p:cNvPr id="17" name="Espace réservé du contenu 16">
            <a:extLst>
              <a:ext uri="{FF2B5EF4-FFF2-40B4-BE49-F238E27FC236}">
                <a16:creationId xmlns:a16="http://schemas.microsoft.com/office/drawing/2014/main" id="{06E14FE5-B3E7-415C-ABAD-0A0FB498390E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5160964" y="2133601"/>
            <a:ext cx="1800225" cy="720726"/>
          </a:xfrm>
        </p:spPr>
        <p:txBody>
          <a:bodyPr anchor="b" anchorCtr="0"/>
          <a:lstStyle>
            <a:lvl1pPr algn="ctr">
              <a:defRPr sz="1700">
                <a:solidFill>
                  <a:srgbClr val="07072B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fr-FR"/>
              <a:t>Section B</a:t>
            </a:r>
            <a:endParaRPr lang="fr-CA"/>
          </a:p>
        </p:txBody>
      </p:sp>
      <p:sp>
        <p:nvSpPr>
          <p:cNvPr id="27" name="Espace réservé du numéro de diapositive 26">
            <a:extLst>
              <a:ext uri="{FF2B5EF4-FFF2-40B4-BE49-F238E27FC236}">
                <a16:creationId xmlns:a16="http://schemas.microsoft.com/office/drawing/2014/main" id="{2DEBE434-B189-41F7-9989-933C9601248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10752228" y="333451"/>
            <a:ext cx="539750" cy="335892"/>
          </a:xfrm>
          <a:prstGeom prst="rect">
            <a:avLst/>
          </a:prstGeom>
        </p:spPr>
        <p:txBody>
          <a:bodyPr lIns="91434" tIns="45717" rIns="91434" bIns="45717" anchor="b" anchorCtr="0"/>
          <a:lstStyle>
            <a:lvl1pPr>
              <a:defRPr sz="800">
                <a:solidFill>
                  <a:srgbClr val="222644"/>
                </a:solidFill>
                <a:latin typeface="Century Gothic" panose="020B0502020202020204" pitchFamily="34" charset="0"/>
              </a:defRPr>
            </a:lvl1pPr>
          </a:lstStyle>
          <a:p>
            <a:pPr algn="r">
              <a:defRPr/>
            </a:pPr>
            <a:fld id="{89AA4CF2-98ED-4480-867D-4533B78D23B5}" type="slidenum">
              <a:rPr lang="fr-CA" altLang="fr-FR" smtClean="0"/>
              <a:pPr algn="r">
                <a:defRPr/>
              </a:pPr>
              <a:t>‹#›</a:t>
            </a:fld>
            <a:endParaRPr lang="fr-CA" altLang="fr-FR"/>
          </a:p>
        </p:txBody>
      </p:sp>
      <p:sp>
        <p:nvSpPr>
          <p:cNvPr id="28" name="Espace réservé du numéro de diapositive 2">
            <a:extLst>
              <a:ext uri="{FF2B5EF4-FFF2-40B4-BE49-F238E27FC236}">
                <a16:creationId xmlns:a16="http://schemas.microsoft.com/office/drawing/2014/main" id="{E2BDDB7F-3333-473B-98EA-3CB197EAF1F5}"/>
              </a:ext>
            </a:extLst>
          </p:cNvPr>
          <p:cNvSpPr txBox="1">
            <a:spLocks/>
          </p:cNvSpPr>
          <p:nvPr userDrawn="1"/>
        </p:nvSpPr>
        <p:spPr>
          <a:xfrm>
            <a:off x="616397" y="6510338"/>
            <a:ext cx="539750" cy="363537"/>
          </a:xfrm>
          <a:prstGeom prst="rect">
            <a:avLst/>
          </a:prstGeom>
        </p:spPr>
        <p:txBody>
          <a:bodyPr vert="horz" wrap="square" lIns="120902" tIns="60451" rIns="120902" bIns="60451" numCol="1" anchor="ctr" anchorCtr="0" compatLnSpc="1">
            <a:prstTxWarp prst="textNoShape">
              <a:avLst/>
            </a:prstTxWarp>
            <a:noAutofit/>
          </a:bodyPr>
          <a:lstStyle>
            <a:defPPr>
              <a:defRPr lang="fr-FR"/>
            </a:defPPr>
            <a:lvl1pPr algn="l" defTabSz="1217613" rtl="0" eaLnBrk="1" fontAlgn="base" hangingPunct="1">
              <a:spcBef>
                <a:spcPct val="0"/>
              </a:spcBef>
              <a:spcAft>
                <a:spcPct val="0"/>
              </a:spcAft>
              <a:defRPr sz="900" kern="1200" smtClean="0">
                <a:solidFill>
                  <a:schemeClr val="bg1">
                    <a:lumMod val="7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08013" indent="-150813" algn="l" defTabSz="1217613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2pPr>
            <a:lvl3pPr marL="1217613" indent="-303213" algn="l" defTabSz="1217613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3pPr>
            <a:lvl4pPr marL="1827213" indent="-455613" algn="l" defTabSz="1217613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4pPr>
            <a:lvl5pPr marL="2436813" indent="-608013" algn="l" defTabSz="1217613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9pPr>
          </a:lstStyle>
          <a:p>
            <a:pPr>
              <a:defRPr/>
            </a:pPr>
            <a:fld id="{5C78C233-16E4-40EE-8E77-456E7AF3EE9A}" type="slidenum">
              <a:rPr lang="fr-CA" altLang="fr-FR" smtClean="0"/>
              <a:pPr>
                <a:defRPr/>
              </a:pPr>
              <a:t>‹#›</a:t>
            </a:fld>
            <a:endParaRPr lang="fr-CA" altLang="fr-FR"/>
          </a:p>
        </p:txBody>
      </p:sp>
    </p:spTree>
    <p:extLst>
      <p:ext uri="{BB962C8B-B14F-4D97-AF65-F5344CB8AC3E}">
        <p14:creationId xmlns:p14="http://schemas.microsoft.com/office/powerpoint/2010/main" val="206590301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Page texte avec photo - fond blanc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pour une image  4">
            <a:extLst>
              <a:ext uri="{FF2B5EF4-FFF2-40B4-BE49-F238E27FC236}">
                <a16:creationId xmlns:a16="http://schemas.microsoft.com/office/drawing/2014/main" id="{4F3424CD-D2E5-4B68-A580-74569ED887ED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097589" y="1"/>
            <a:ext cx="6089649" cy="6873875"/>
          </a:xfrm>
        </p:spPr>
        <p:txBody>
          <a:bodyPr/>
          <a:lstStyle/>
          <a:p>
            <a:r>
              <a:rPr lang="fr-FR"/>
              <a:t>Cliquez sur l'icône pour ajouter une image</a:t>
            </a:r>
            <a:endParaRPr lang="fr-CA"/>
          </a:p>
        </p:txBody>
      </p:sp>
      <p:pic>
        <p:nvPicPr>
          <p:cNvPr id="6" name="Objet 3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588" y="1588"/>
            <a:ext cx="1587" cy="1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Freeform 5"/>
          <p:cNvSpPr>
            <a:spLocks/>
          </p:cNvSpPr>
          <p:nvPr userDrawn="1"/>
        </p:nvSpPr>
        <p:spPr bwMode="auto">
          <a:xfrm>
            <a:off x="4067175" y="2243138"/>
            <a:ext cx="0" cy="0"/>
          </a:xfrm>
          <a:custGeom>
            <a:avLst/>
            <a:gdLst>
              <a:gd name="T0" fmla="*/ 0 60000 65536"/>
              <a:gd name="T1" fmla="*/ 0 60000 65536"/>
              <a:gd name="T2" fmla="*/ 0 60000 65536"/>
            </a:gdLst>
            <a:ahLst/>
            <a:cxnLst>
              <a:cxn ang="T0">
                <a:pos x="0" y="0"/>
              </a:cxn>
              <a:cxn ang="T1">
                <a:pos x="0" y="0"/>
              </a:cxn>
              <a:cxn ang="T2">
                <a:pos x="0" y="0"/>
              </a:cxn>
            </a:cxnLst>
            <a:rect l="0" t="0" r="r" b="b"/>
            <a:pathLst>
              <a:path>
                <a:moveTo>
                  <a:pt x="0" y="0"/>
                </a:moveTo>
                <a:cubicBezTo>
                  <a:pt x="0" y="0"/>
                  <a:pt x="0" y="0"/>
                  <a:pt x="0" y="0"/>
                </a:cubicBezTo>
                <a:cubicBezTo>
                  <a:pt x="0" y="0"/>
                  <a:pt x="0" y="0"/>
                  <a:pt x="0" y="0"/>
                </a:cubicBezTo>
                <a:close/>
              </a:path>
            </a:pathLst>
          </a:custGeom>
          <a:solidFill>
            <a:srgbClr val="FFFFFF"/>
          </a:solidFill>
          <a:ln w="9525">
            <a:noFill/>
            <a:round/>
            <a:headEnd/>
            <a:tailEnd/>
          </a:ln>
        </p:spPr>
        <p:txBody>
          <a:bodyPr lIns="102363" tIns="51178" rIns="102363" bIns="51178"/>
          <a:lstStyle/>
          <a:p>
            <a:endParaRPr lang="en-GB"/>
          </a:p>
        </p:txBody>
      </p:sp>
      <p:sp>
        <p:nvSpPr>
          <p:cNvPr id="11" name="Freeform 6"/>
          <p:cNvSpPr>
            <a:spLocks/>
          </p:cNvSpPr>
          <p:nvPr userDrawn="1"/>
        </p:nvSpPr>
        <p:spPr bwMode="auto">
          <a:xfrm>
            <a:off x="4032250" y="1962150"/>
            <a:ext cx="0" cy="0"/>
          </a:xfrm>
          <a:custGeom>
            <a:avLst/>
            <a:gdLst>
              <a:gd name="T0" fmla="*/ 0 60000 65536"/>
              <a:gd name="T1" fmla="*/ 0 60000 65536"/>
              <a:gd name="T2" fmla="*/ 0 60000 65536"/>
            </a:gdLst>
            <a:ahLst/>
            <a:cxnLst>
              <a:cxn ang="T0">
                <a:pos x="0" y="0"/>
              </a:cxn>
              <a:cxn ang="T1">
                <a:pos x="0" y="0"/>
              </a:cxn>
              <a:cxn ang="T2">
                <a:pos x="0" y="0"/>
              </a:cxn>
            </a:cxnLst>
            <a:rect l="0" t="0" r="r" b="b"/>
            <a:pathLst>
              <a:path>
                <a:moveTo>
                  <a:pt x="0" y="0"/>
                </a:moveTo>
                <a:cubicBezTo>
                  <a:pt x="0" y="0"/>
                  <a:pt x="0" y="0"/>
                  <a:pt x="0" y="0"/>
                </a:cubicBezTo>
                <a:cubicBezTo>
                  <a:pt x="0" y="0"/>
                  <a:pt x="0" y="0"/>
                  <a:pt x="0" y="0"/>
                </a:cubicBezTo>
                <a:close/>
              </a:path>
            </a:pathLst>
          </a:custGeom>
          <a:solidFill>
            <a:srgbClr val="FFFFFF"/>
          </a:solidFill>
          <a:ln w="9525">
            <a:noFill/>
            <a:round/>
            <a:headEnd/>
            <a:tailEnd/>
          </a:ln>
        </p:spPr>
        <p:txBody>
          <a:bodyPr lIns="102363" tIns="51178" rIns="102363" bIns="51178"/>
          <a:lstStyle/>
          <a:p>
            <a:endParaRPr lang="en-GB"/>
          </a:p>
        </p:txBody>
      </p:sp>
      <p:sp>
        <p:nvSpPr>
          <p:cNvPr id="9" name="Espace réservé du texte 8">
            <a:extLst>
              <a:ext uri="{FF2B5EF4-FFF2-40B4-BE49-F238E27FC236}">
                <a16:creationId xmlns:a16="http://schemas.microsoft.com/office/drawing/2014/main" id="{611DE428-05D4-42FE-B9C2-02D4220CDC4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777107" y="333451"/>
            <a:ext cx="1872207" cy="287337"/>
          </a:xfrm>
        </p:spPr>
        <p:txBody>
          <a:bodyPr anchor="b" anchorCtr="0"/>
          <a:lstStyle>
            <a:lvl1pPr>
              <a:defRPr sz="800">
                <a:solidFill>
                  <a:srgbClr val="07072B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fr-CA"/>
              <a:t>Page texte avec photo</a:t>
            </a:r>
          </a:p>
        </p:txBody>
      </p:sp>
      <p:sp>
        <p:nvSpPr>
          <p:cNvPr id="27" name="Espace réservé du numéro de diapositive 26">
            <a:extLst>
              <a:ext uri="{FF2B5EF4-FFF2-40B4-BE49-F238E27FC236}">
                <a16:creationId xmlns:a16="http://schemas.microsoft.com/office/drawing/2014/main" id="{2DEBE434-B189-41F7-9989-933C9601248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10752228" y="333451"/>
            <a:ext cx="539750" cy="335892"/>
          </a:xfrm>
          <a:prstGeom prst="rect">
            <a:avLst/>
          </a:prstGeom>
        </p:spPr>
        <p:txBody>
          <a:bodyPr lIns="91434" tIns="45717" rIns="91434" bIns="45717" anchor="b" anchorCtr="0"/>
          <a:lstStyle>
            <a:lvl1pPr>
              <a:defRPr sz="800">
                <a:solidFill>
                  <a:srgbClr val="222644"/>
                </a:solidFill>
                <a:latin typeface="Century Gothic" panose="020B0502020202020204" pitchFamily="34" charset="0"/>
              </a:defRPr>
            </a:lvl1pPr>
          </a:lstStyle>
          <a:p>
            <a:pPr algn="r">
              <a:defRPr/>
            </a:pPr>
            <a:fld id="{89AA4CF2-98ED-4480-867D-4533B78D23B5}" type="slidenum">
              <a:rPr lang="fr-CA" altLang="fr-FR" smtClean="0"/>
              <a:pPr algn="r">
                <a:defRPr/>
              </a:pPr>
              <a:t>‹#›</a:t>
            </a:fld>
            <a:endParaRPr lang="fr-CA" altLang="fr-FR"/>
          </a:p>
        </p:txBody>
      </p:sp>
      <p:sp>
        <p:nvSpPr>
          <p:cNvPr id="16" name="Espace réservé du contenu 16">
            <a:extLst>
              <a:ext uri="{FF2B5EF4-FFF2-40B4-BE49-F238E27FC236}">
                <a16:creationId xmlns:a16="http://schemas.microsoft.com/office/drawing/2014/main" id="{F9E433C0-A231-4AC8-B431-1E603782C983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877044" y="1054101"/>
            <a:ext cx="5220544" cy="2663725"/>
          </a:xfrm>
        </p:spPr>
        <p:txBody>
          <a:bodyPr anchor="t" anchorCtr="0"/>
          <a:lstStyle>
            <a:lvl1pPr algn="l">
              <a:defRPr sz="4000">
                <a:solidFill>
                  <a:srgbClr val="07072B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fr-CA"/>
              <a:t>Page texte avec </a:t>
            </a:r>
          </a:p>
          <a:p>
            <a:pPr lvl="0"/>
            <a:r>
              <a:rPr lang="fr-CA"/>
              <a:t>long titre et photo </a:t>
            </a:r>
          </a:p>
          <a:p>
            <a:pPr lvl="0"/>
            <a:r>
              <a:rPr lang="fr-CA" err="1"/>
              <a:t>lorem</a:t>
            </a:r>
            <a:r>
              <a:rPr lang="fr-CA"/>
              <a:t> ipsum </a:t>
            </a:r>
            <a:r>
              <a:rPr lang="fr-CA" err="1"/>
              <a:t>dolor</a:t>
            </a:r>
            <a:endParaRPr lang="fr-CA"/>
          </a:p>
          <a:p>
            <a:pPr lvl="0"/>
            <a:r>
              <a:rPr lang="fr-CA" err="1"/>
              <a:t>sit</a:t>
            </a:r>
            <a:r>
              <a:rPr lang="fr-CA"/>
              <a:t> </a:t>
            </a:r>
            <a:r>
              <a:rPr lang="fr-CA" err="1"/>
              <a:t>amet</a:t>
            </a:r>
            <a:r>
              <a:rPr lang="fr-CA"/>
              <a:t>.</a:t>
            </a:r>
          </a:p>
        </p:txBody>
      </p:sp>
      <p:sp>
        <p:nvSpPr>
          <p:cNvPr id="18" name="Espace réservé du contenu 14">
            <a:extLst>
              <a:ext uri="{FF2B5EF4-FFF2-40B4-BE49-F238E27FC236}">
                <a16:creationId xmlns:a16="http://schemas.microsoft.com/office/drawing/2014/main" id="{CCF9C410-A114-49A4-86C9-FB034EA7D3AE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913013" y="3789833"/>
            <a:ext cx="5184575" cy="2592288"/>
          </a:xfrm>
        </p:spPr>
        <p:txBody>
          <a:bodyPr numCol="1"/>
          <a:lstStyle>
            <a:lvl1pPr algn="l" rtl="0">
              <a:defRPr lang="en-GB" sz="1200" b="0" i="0" u="none" strike="noStrike" baseline="30000" smtClean="0"/>
            </a:lvl1pPr>
          </a:lstStyle>
          <a:p>
            <a:pPr rtl="0"/>
            <a:r>
              <a:rPr lang="en-GB" sz="2300" b="0" i="0" u="none" strike="noStrike" baseline="30000" err="1">
                <a:solidFill>
                  <a:srgbClr val="08082B"/>
                </a:solidFill>
                <a:latin typeface="Century Gothic" panose="020B0502020202020204" pitchFamily="34" charset="0"/>
              </a:rPr>
              <a:t>Equam</a:t>
            </a:r>
            <a:r>
              <a:rPr lang="en-GB" sz="2300" b="0" i="0" u="none" strike="noStrike" baseline="30000">
                <a:solidFill>
                  <a:srgbClr val="08082B"/>
                </a:solidFill>
                <a:latin typeface="Century Gothic" panose="020B0502020202020204" pitchFamily="34" charset="0"/>
              </a:rPr>
              <a:t> re </a:t>
            </a:r>
            <a:r>
              <a:rPr lang="en-GB" sz="2300" b="0" i="0" u="none" strike="noStrike" baseline="30000" err="1">
                <a:solidFill>
                  <a:srgbClr val="08082B"/>
                </a:solidFill>
                <a:latin typeface="Century Gothic" panose="020B0502020202020204" pitchFamily="34" charset="0"/>
              </a:rPr>
              <a:t>laboriatiis</a:t>
            </a:r>
            <a:r>
              <a:rPr lang="en-GB" sz="2300" b="0" i="0" u="none" strike="noStrike" baseline="30000">
                <a:solidFill>
                  <a:srgbClr val="08082B"/>
                </a:solidFill>
                <a:latin typeface="Century Gothic" panose="020B0502020202020204" pitchFamily="34" charset="0"/>
              </a:rPr>
              <a:t> </a:t>
            </a:r>
            <a:r>
              <a:rPr lang="en-GB" sz="2300" b="0" i="0" u="none" strike="noStrike" baseline="30000" err="1">
                <a:solidFill>
                  <a:srgbClr val="08082B"/>
                </a:solidFill>
                <a:latin typeface="Century Gothic" panose="020B0502020202020204" pitchFamily="34" charset="0"/>
              </a:rPr>
              <a:t>moluptat</a:t>
            </a:r>
            <a:r>
              <a:rPr lang="en-GB" sz="2300" b="0" i="0" u="none" strike="noStrike" baseline="30000">
                <a:solidFill>
                  <a:srgbClr val="08082B"/>
                </a:solidFill>
                <a:latin typeface="Century Gothic" panose="020B0502020202020204" pitchFamily="34" charset="0"/>
              </a:rPr>
              <a:t> </a:t>
            </a:r>
            <a:r>
              <a:rPr lang="en-GB" sz="2300" b="0" i="0" u="none" strike="noStrike" baseline="30000" err="1">
                <a:solidFill>
                  <a:srgbClr val="08082B"/>
                </a:solidFill>
                <a:latin typeface="Century Gothic" panose="020B0502020202020204" pitchFamily="34" charset="0"/>
              </a:rPr>
              <a:t>restiam</a:t>
            </a:r>
            <a:r>
              <a:rPr lang="en-GB" sz="2300" b="0" i="0" u="none" strike="noStrike" baseline="30000">
                <a:solidFill>
                  <a:srgbClr val="08082B"/>
                </a:solidFill>
                <a:latin typeface="Century Gothic" panose="020B0502020202020204" pitchFamily="34" charset="0"/>
              </a:rPr>
              <a:t>, que </a:t>
            </a:r>
            <a:r>
              <a:rPr lang="en-GB" sz="2300" b="0" i="0" u="none" strike="noStrike" baseline="30000" err="1">
                <a:solidFill>
                  <a:srgbClr val="08082B"/>
                </a:solidFill>
                <a:latin typeface="Century Gothic" panose="020B0502020202020204" pitchFamily="34" charset="0"/>
              </a:rPr>
              <a:t>labo</a:t>
            </a:r>
            <a:r>
              <a:rPr lang="en-GB" sz="2300" b="0" i="0" u="none" strike="noStrike" baseline="30000">
                <a:solidFill>
                  <a:srgbClr val="08082B"/>
                </a:solidFill>
                <a:latin typeface="Century Gothic" panose="020B0502020202020204" pitchFamily="34" charset="0"/>
              </a:rPr>
              <a:t>. </a:t>
            </a:r>
            <a:r>
              <a:rPr lang="en-GB" sz="2300" b="0" i="0" u="none" strike="noStrike" baseline="30000" err="1">
                <a:solidFill>
                  <a:srgbClr val="08082B"/>
                </a:solidFill>
                <a:latin typeface="Century Gothic" panose="020B0502020202020204" pitchFamily="34" charset="0"/>
              </a:rPr>
              <a:t>Enimus</a:t>
            </a:r>
            <a:r>
              <a:rPr lang="en-GB" sz="2300" b="0" i="0" u="none" strike="noStrike" baseline="30000">
                <a:solidFill>
                  <a:srgbClr val="08082B"/>
                </a:solidFill>
                <a:latin typeface="Century Gothic" panose="020B0502020202020204" pitchFamily="34" charset="0"/>
              </a:rPr>
              <a:t> </a:t>
            </a:r>
            <a:br>
              <a:rPr lang="en-GB" sz="2300" b="0" i="0" u="none" strike="noStrike" baseline="30000">
                <a:solidFill>
                  <a:srgbClr val="08082B"/>
                </a:solidFill>
                <a:latin typeface="Century Gothic" panose="020B0502020202020204" pitchFamily="34" charset="0"/>
              </a:rPr>
            </a:br>
            <a:r>
              <a:rPr lang="en-GB" sz="2300" b="0" i="0" u="none" strike="noStrike" baseline="30000" err="1">
                <a:solidFill>
                  <a:srgbClr val="08082B"/>
                </a:solidFill>
                <a:latin typeface="Century Gothic" panose="020B0502020202020204" pitchFamily="34" charset="0"/>
              </a:rPr>
              <a:t>estio</a:t>
            </a:r>
            <a:r>
              <a:rPr lang="en-GB" sz="2300" b="0" i="0" u="none" strike="noStrike" baseline="30000">
                <a:solidFill>
                  <a:srgbClr val="08082B"/>
                </a:solidFill>
                <a:latin typeface="Century Gothic" panose="020B0502020202020204" pitchFamily="34" charset="0"/>
              </a:rPr>
              <a:t> </a:t>
            </a:r>
            <a:r>
              <a:rPr lang="en-GB" sz="2300" b="0" i="0" u="none" strike="noStrike" baseline="30000" err="1">
                <a:solidFill>
                  <a:srgbClr val="08082B"/>
                </a:solidFill>
                <a:latin typeface="Century Gothic" panose="020B0502020202020204" pitchFamily="34" charset="0"/>
              </a:rPr>
              <a:t>ilic</a:t>
            </a:r>
            <a:r>
              <a:rPr lang="en-GB" sz="2300" b="0" i="0" u="none" strike="noStrike" baseline="30000">
                <a:solidFill>
                  <a:srgbClr val="08082B"/>
                </a:solidFill>
                <a:latin typeface="Century Gothic" panose="020B0502020202020204" pitchFamily="34" charset="0"/>
              </a:rPr>
              <a:t> </a:t>
            </a:r>
            <a:r>
              <a:rPr lang="en-GB" sz="2300" b="0" i="0" u="none" strike="noStrike" baseline="30000" err="1">
                <a:solidFill>
                  <a:srgbClr val="08082B"/>
                </a:solidFill>
                <a:latin typeface="Century Gothic" panose="020B0502020202020204" pitchFamily="34" charset="0"/>
              </a:rPr>
              <a:t>tectatecab</a:t>
            </a:r>
            <a:r>
              <a:rPr lang="en-GB" sz="2300" b="0" i="0" u="none" strike="noStrike" baseline="30000">
                <a:solidFill>
                  <a:srgbClr val="08082B"/>
                </a:solidFill>
                <a:latin typeface="Century Gothic" panose="020B0502020202020204" pitchFamily="34" charset="0"/>
              </a:rPr>
              <a:t> in </a:t>
            </a:r>
            <a:r>
              <a:rPr lang="en-GB" sz="2300" b="0" i="0" u="none" strike="noStrike" baseline="30000" err="1">
                <a:solidFill>
                  <a:srgbClr val="08082B"/>
                </a:solidFill>
                <a:latin typeface="Century Gothic" panose="020B0502020202020204" pitchFamily="34" charset="0"/>
              </a:rPr>
              <a:t>eum</a:t>
            </a:r>
            <a:r>
              <a:rPr lang="en-GB" sz="2300" b="0" i="0" u="none" strike="noStrike" baseline="30000">
                <a:solidFill>
                  <a:srgbClr val="08082B"/>
                </a:solidFill>
                <a:latin typeface="Century Gothic" panose="020B0502020202020204" pitchFamily="34" charset="0"/>
              </a:rPr>
              <a:t> quid </a:t>
            </a:r>
            <a:r>
              <a:rPr lang="en-GB" sz="2300" b="0" i="0" u="none" strike="noStrike" baseline="30000" err="1">
                <a:solidFill>
                  <a:srgbClr val="08082B"/>
                </a:solidFill>
                <a:latin typeface="Century Gothic" panose="020B0502020202020204" pitchFamily="34" charset="0"/>
              </a:rPr>
              <a:t>experi</a:t>
            </a:r>
            <a:r>
              <a:rPr lang="en-GB" sz="2300" b="0" i="0" u="none" strike="noStrike" baseline="30000">
                <a:solidFill>
                  <a:srgbClr val="08082B"/>
                </a:solidFill>
                <a:latin typeface="Century Gothic" panose="020B0502020202020204" pitchFamily="34" charset="0"/>
              </a:rPr>
              <a:t> con </a:t>
            </a:r>
            <a:r>
              <a:rPr lang="en-GB" sz="2300" b="0" i="0" u="none" strike="noStrike" baseline="30000" err="1">
                <a:solidFill>
                  <a:srgbClr val="08082B"/>
                </a:solidFill>
                <a:latin typeface="Century Gothic" panose="020B0502020202020204" pitchFamily="34" charset="0"/>
              </a:rPr>
              <a:t>nulum</a:t>
            </a:r>
            <a:r>
              <a:rPr lang="en-GB" sz="2300" b="0" i="0" u="none" strike="noStrike" baseline="30000">
                <a:solidFill>
                  <a:srgbClr val="08082B"/>
                </a:solidFill>
                <a:latin typeface="Century Gothic" panose="020B0502020202020204" pitchFamily="34" charset="0"/>
              </a:rPr>
              <a:t> </a:t>
            </a:r>
            <a:r>
              <a:rPr lang="en-GB" sz="2300" b="0" i="0" u="none" strike="noStrike" baseline="30000" err="1">
                <a:solidFill>
                  <a:srgbClr val="08082B"/>
                </a:solidFill>
                <a:latin typeface="Century Gothic" panose="020B0502020202020204" pitchFamily="34" charset="0"/>
              </a:rPr>
              <a:t>ea</a:t>
            </a:r>
            <a:r>
              <a:rPr lang="en-GB" sz="2300" b="0" i="0" u="none" strike="noStrike" baseline="30000">
                <a:solidFill>
                  <a:srgbClr val="08082B"/>
                </a:solidFill>
                <a:latin typeface="Century Gothic" panose="020B0502020202020204" pitchFamily="34" charset="0"/>
              </a:rPr>
              <a:t> </a:t>
            </a:r>
            <a:br>
              <a:rPr lang="en-GB" sz="2300" b="0" i="0" u="none" strike="noStrike" baseline="30000">
                <a:solidFill>
                  <a:srgbClr val="08082B"/>
                </a:solidFill>
                <a:latin typeface="Century Gothic" panose="020B0502020202020204" pitchFamily="34" charset="0"/>
              </a:rPr>
            </a:br>
            <a:r>
              <a:rPr lang="en-GB" sz="2300" b="0" i="0" u="none" strike="noStrike" baseline="30000">
                <a:solidFill>
                  <a:srgbClr val="08082B"/>
                </a:solidFill>
                <a:latin typeface="Century Gothic" panose="020B0502020202020204" pitchFamily="34" charset="0"/>
              </a:rPr>
              <a:t>que </a:t>
            </a:r>
            <a:r>
              <a:rPr lang="en-GB" sz="2300" b="0" i="0" u="none" strike="noStrike" baseline="30000" err="1">
                <a:solidFill>
                  <a:srgbClr val="08082B"/>
                </a:solidFill>
                <a:latin typeface="Century Gothic" panose="020B0502020202020204" pitchFamily="34" charset="0"/>
              </a:rPr>
              <a:t>nos</a:t>
            </a:r>
            <a:r>
              <a:rPr lang="en-GB" sz="2300" b="0" i="0" u="none" strike="noStrike" baseline="30000">
                <a:solidFill>
                  <a:srgbClr val="08082B"/>
                </a:solidFill>
                <a:latin typeface="Century Gothic" panose="020B0502020202020204" pitchFamily="34" charset="0"/>
              </a:rPr>
              <a:t> </a:t>
            </a:r>
            <a:r>
              <a:rPr lang="en-GB" sz="2300" b="0" i="0" u="none" strike="noStrike" baseline="30000" err="1">
                <a:solidFill>
                  <a:srgbClr val="08082B"/>
                </a:solidFill>
                <a:latin typeface="Century Gothic" panose="020B0502020202020204" pitchFamily="34" charset="0"/>
              </a:rPr>
              <a:t>rerit</a:t>
            </a:r>
            <a:r>
              <a:rPr lang="en-GB" sz="2300" b="0" i="0" u="none" strike="noStrike" baseline="30000">
                <a:solidFill>
                  <a:srgbClr val="08082B"/>
                </a:solidFill>
                <a:latin typeface="Century Gothic" panose="020B0502020202020204" pitchFamily="34" charset="0"/>
              </a:rPr>
              <a:t> quid </a:t>
            </a:r>
            <a:r>
              <a:rPr lang="en-GB" sz="2300" b="0" i="0" u="none" strike="noStrike" baseline="30000" err="1">
                <a:solidFill>
                  <a:srgbClr val="08082B"/>
                </a:solidFill>
                <a:latin typeface="Century Gothic" panose="020B0502020202020204" pitchFamily="34" charset="0"/>
              </a:rPr>
              <a:t>quatur</a:t>
            </a:r>
            <a:r>
              <a:rPr lang="en-GB" sz="2300" b="0" i="0" u="none" strike="noStrike" baseline="30000">
                <a:solidFill>
                  <a:srgbClr val="08082B"/>
                </a:solidFill>
                <a:latin typeface="Century Gothic" panose="020B0502020202020204" pitchFamily="34" charset="0"/>
              </a:rPr>
              <a:t> </a:t>
            </a:r>
            <a:r>
              <a:rPr lang="en-GB" sz="2300" b="0" i="0" u="none" strike="noStrike" baseline="30000" err="1">
                <a:solidFill>
                  <a:srgbClr val="08082B"/>
                </a:solidFill>
                <a:latin typeface="Century Gothic" panose="020B0502020202020204" pitchFamily="34" charset="0"/>
              </a:rPr>
              <a:t>aut</a:t>
            </a:r>
            <a:r>
              <a:rPr lang="en-GB" sz="2300" b="0" i="0" u="none" strike="noStrike" baseline="30000">
                <a:solidFill>
                  <a:srgbClr val="08082B"/>
                </a:solidFill>
                <a:latin typeface="Century Gothic" panose="020B0502020202020204" pitchFamily="34" charset="0"/>
              </a:rPr>
              <a:t> </a:t>
            </a:r>
            <a:r>
              <a:rPr lang="en-GB" sz="2300" b="0" i="0" u="none" strike="noStrike" baseline="30000" err="1">
                <a:solidFill>
                  <a:srgbClr val="08082B"/>
                </a:solidFill>
                <a:latin typeface="Century Gothic" panose="020B0502020202020204" pitchFamily="34" charset="0"/>
              </a:rPr>
              <a:t>laborer</a:t>
            </a:r>
            <a:r>
              <a:rPr lang="en-GB" sz="2300" b="0" i="0" u="none" strike="noStrike" baseline="30000">
                <a:solidFill>
                  <a:srgbClr val="08082B"/>
                </a:solidFill>
                <a:latin typeface="Century Gothic" panose="020B0502020202020204" pitchFamily="34" charset="0"/>
              </a:rPr>
              <a:t> </a:t>
            </a:r>
            <a:r>
              <a:rPr lang="en-GB" sz="2300" b="0" i="0" u="none" strike="noStrike" baseline="30000" err="1">
                <a:solidFill>
                  <a:srgbClr val="08082B"/>
                </a:solidFill>
                <a:latin typeface="Century Gothic" panose="020B0502020202020204" pitchFamily="34" charset="0"/>
              </a:rPr>
              <a:t>oressec</a:t>
            </a:r>
            <a:r>
              <a:rPr lang="en-GB" sz="2300" b="0" i="0" u="none" strike="noStrike" baseline="30000">
                <a:solidFill>
                  <a:srgbClr val="08082B"/>
                </a:solidFill>
                <a:latin typeface="Century Gothic" panose="020B0502020202020204" pitchFamily="34" charset="0"/>
              </a:rPr>
              <a:t> </a:t>
            </a:r>
            <a:r>
              <a:rPr lang="en-GB" sz="2300" b="0" i="0" u="none" strike="noStrike" baseline="30000" err="1">
                <a:solidFill>
                  <a:srgbClr val="08082B"/>
                </a:solidFill>
                <a:latin typeface="Century Gothic" panose="020B0502020202020204" pitchFamily="34" charset="0"/>
              </a:rPr>
              <a:t>tatur</a:t>
            </a:r>
            <a:r>
              <a:rPr lang="en-GB" sz="2300" b="0" i="0" u="none" strike="noStrike" baseline="30000">
                <a:solidFill>
                  <a:srgbClr val="08082B"/>
                </a:solidFill>
                <a:latin typeface="Century Gothic" panose="020B0502020202020204" pitchFamily="34" charset="0"/>
              </a:rPr>
              <a:t>, sim </a:t>
            </a:r>
            <a:br>
              <a:rPr lang="en-GB" sz="2300" b="0" i="0" u="none" strike="noStrike" baseline="30000">
                <a:solidFill>
                  <a:srgbClr val="08082B"/>
                </a:solidFill>
                <a:latin typeface="Century Gothic" panose="020B0502020202020204" pitchFamily="34" charset="0"/>
              </a:rPr>
            </a:br>
            <a:r>
              <a:rPr lang="en-GB" sz="2300" b="0" i="0" u="none" strike="noStrike" baseline="30000">
                <a:solidFill>
                  <a:srgbClr val="08082B"/>
                </a:solidFill>
                <a:latin typeface="Century Gothic" panose="020B0502020202020204" pitchFamily="34" charset="0"/>
              </a:rPr>
              <a:t>que </a:t>
            </a:r>
            <a:r>
              <a:rPr lang="en-GB" sz="2300" b="0" i="0" u="none" strike="noStrike" baseline="30000" err="1">
                <a:solidFill>
                  <a:srgbClr val="08082B"/>
                </a:solidFill>
                <a:latin typeface="Century Gothic" panose="020B0502020202020204" pitchFamily="34" charset="0"/>
              </a:rPr>
              <a:t>soluptatet</a:t>
            </a:r>
            <a:r>
              <a:rPr lang="en-GB" sz="2300" b="0" i="0" u="none" strike="noStrike" baseline="30000">
                <a:solidFill>
                  <a:srgbClr val="08082B"/>
                </a:solidFill>
                <a:latin typeface="Century Gothic" panose="020B0502020202020204" pitchFamily="34" charset="0"/>
              </a:rPr>
              <a:t> </a:t>
            </a:r>
            <a:r>
              <a:rPr lang="en-GB" sz="2300" b="0" i="0" u="none" strike="noStrike" baseline="30000" err="1">
                <a:solidFill>
                  <a:srgbClr val="08082B"/>
                </a:solidFill>
                <a:latin typeface="Century Gothic" panose="020B0502020202020204" pitchFamily="34" charset="0"/>
              </a:rPr>
              <a:t>audantia</a:t>
            </a:r>
            <a:r>
              <a:rPr lang="en-GB" sz="2300" b="0" i="0" u="none" strike="noStrike" baseline="30000">
                <a:solidFill>
                  <a:srgbClr val="08082B"/>
                </a:solidFill>
                <a:latin typeface="Century Gothic" panose="020B0502020202020204" pitchFamily="34" charset="0"/>
              </a:rPr>
              <a:t> </a:t>
            </a:r>
            <a:r>
              <a:rPr lang="en-GB" sz="2300" b="0" i="0" u="none" strike="noStrike" baseline="30000" err="1">
                <a:solidFill>
                  <a:srgbClr val="08082B"/>
                </a:solidFill>
                <a:latin typeface="Century Gothic" panose="020B0502020202020204" pitchFamily="34" charset="0"/>
              </a:rPr>
              <a:t>ventur</a:t>
            </a:r>
            <a:r>
              <a:rPr lang="en-GB" sz="2300" b="0" i="0" u="none" strike="noStrike" baseline="30000">
                <a:solidFill>
                  <a:srgbClr val="08082B"/>
                </a:solidFill>
                <a:latin typeface="Century Gothic" panose="020B0502020202020204" pitchFamily="34" charset="0"/>
              </a:rPr>
              <a:t>? </a:t>
            </a:r>
            <a:r>
              <a:rPr lang="en-GB" sz="2300" b="0" i="0" u="none" strike="noStrike" baseline="30000" err="1">
                <a:solidFill>
                  <a:srgbClr val="08082B"/>
                </a:solidFill>
                <a:latin typeface="Century Gothic" panose="020B0502020202020204" pitchFamily="34" charset="0"/>
              </a:rPr>
              <a:t>Temporentis</a:t>
            </a:r>
            <a:r>
              <a:rPr lang="en-GB" sz="2300" b="0" i="0" u="none" strike="noStrike" baseline="30000">
                <a:solidFill>
                  <a:srgbClr val="08082B"/>
                </a:solidFill>
                <a:latin typeface="Century Gothic" panose="020B0502020202020204" pitchFamily="34" charset="0"/>
              </a:rPr>
              <a:t> sim </a:t>
            </a:r>
            <a:r>
              <a:rPr lang="en-GB" sz="2300" b="0" i="0" u="none" strike="noStrike" baseline="30000" err="1">
                <a:solidFill>
                  <a:srgbClr val="08082B"/>
                </a:solidFill>
                <a:latin typeface="Century Gothic" panose="020B0502020202020204" pitchFamily="34" charset="0"/>
              </a:rPr>
              <a:t>cus</a:t>
            </a:r>
            <a:r>
              <a:rPr lang="en-GB" sz="2300" b="0" i="0" u="none" strike="noStrike" baseline="30000">
                <a:solidFill>
                  <a:srgbClr val="08082B"/>
                </a:solidFill>
                <a:latin typeface="Century Gothic" panose="020B0502020202020204" pitchFamily="34" charset="0"/>
              </a:rPr>
              <a:t>, </a:t>
            </a:r>
            <a:br>
              <a:rPr lang="en-GB" sz="2300" b="0" i="0" u="none" strike="noStrike" baseline="30000">
                <a:solidFill>
                  <a:srgbClr val="08082B"/>
                </a:solidFill>
                <a:latin typeface="Century Gothic" panose="020B0502020202020204" pitchFamily="34" charset="0"/>
              </a:rPr>
            </a:br>
            <a:r>
              <a:rPr lang="en-GB" sz="2300" b="0" i="0" u="none" strike="noStrike" baseline="30000" err="1">
                <a:solidFill>
                  <a:srgbClr val="08082B"/>
                </a:solidFill>
                <a:latin typeface="Century Gothic" panose="020B0502020202020204" pitchFamily="34" charset="0"/>
              </a:rPr>
              <a:t>volesti</a:t>
            </a:r>
            <a:r>
              <a:rPr lang="en-GB" sz="2300" b="0" i="0" u="none" strike="noStrike" baseline="30000">
                <a:solidFill>
                  <a:srgbClr val="08082B"/>
                </a:solidFill>
                <a:latin typeface="Century Gothic" panose="020B0502020202020204" pitchFamily="34" charset="0"/>
              </a:rPr>
              <a:t> </a:t>
            </a:r>
            <a:r>
              <a:rPr lang="en-GB" sz="2300" b="0" i="0" u="none" strike="noStrike" baseline="30000" err="1">
                <a:solidFill>
                  <a:srgbClr val="08082B"/>
                </a:solidFill>
                <a:latin typeface="Century Gothic" panose="020B0502020202020204" pitchFamily="34" charset="0"/>
              </a:rPr>
              <a:t>comni</a:t>
            </a:r>
            <a:r>
              <a:rPr lang="en-GB" sz="2300" b="0" i="0" u="none" strike="noStrike" baseline="30000">
                <a:solidFill>
                  <a:srgbClr val="08082B"/>
                </a:solidFill>
                <a:latin typeface="Century Gothic" panose="020B0502020202020204" pitchFamily="34" charset="0"/>
              </a:rPr>
              <a:t> test ped et </a:t>
            </a:r>
            <a:r>
              <a:rPr lang="en-GB" sz="2300" b="0" i="0" u="none" strike="noStrike" baseline="30000" err="1">
                <a:solidFill>
                  <a:srgbClr val="08082B"/>
                </a:solidFill>
                <a:latin typeface="Century Gothic" panose="020B0502020202020204" pitchFamily="34" charset="0"/>
              </a:rPr>
              <a:t>ut</a:t>
            </a:r>
            <a:r>
              <a:rPr lang="en-GB" sz="2300" b="0" i="0" u="none" strike="noStrike" baseline="30000">
                <a:solidFill>
                  <a:srgbClr val="08082B"/>
                </a:solidFill>
                <a:latin typeface="Century Gothic" panose="020B0502020202020204" pitchFamily="34" charset="0"/>
              </a:rPr>
              <a:t> </a:t>
            </a:r>
            <a:r>
              <a:rPr lang="en-GB" sz="2300" b="0" i="0" u="none" strike="noStrike" baseline="30000" err="1">
                <a:solidFill>
                  <a:srgbClr val="08082B"/>
                </a:solidFill>
                <a:latin typeface="Century Gothic" panose="020B0502020202020204" pitchFamily="34" charset="0"/>
              </a:rPr>
              <a:t>officature</a:t>
            </a:r>
            <a:r>
              <a:rPr lang="en-GB" sz="2300" b="0" i="0" u="none" strike="noStrike" baseline="30000">
                <a:solidFill>
                  <a:srgbClr val="08082B"/>
                </a:solidFill>
                <a:latin typeface="Century Gothic" panose="020B0502020202020204" pitchFamily="34" charset="0"/>
              </a:rPr>
              <a:t> ne </a:t>
            </a:r>
            <a:r>
              <a:rPr lang="en-GB" sz="2300" b="0" i="0" u="none" strike="noStrike" baseline="30000" err="1">
                <a:solidFill>
                  <a:srgbClr val="08082B"/>
                </a:solidFill>
                <a:latin typeface="Century Gothic" panose="020B0502020202020204" pitchFamily="34" charset="0"/>
              </a:rPr>
              <a:t>quis</a:t>
            </a:r>
            <a:r>
              <a:rPr lang="en-GB" sz="2300" b="0" i="0" u="none" strike="noStrike" baseline="30000">
                <a:solidFill>
                  <a:srgbClr val="08082B"/>
                </a:solidFill>
                <a:latin typeface="Century Gothic" panose="020B0502020202020204" pitchFamily="34" charset="0"/>
              </a:rPr>
              <a:t> am </a:t>
            </a:r>
            <a:r>
              <a:rPr lang="en-GB" sz="2300" b="0" i="0" u="none" strike="noStrike" baseline="30000" err="1">
                <a:solidFill>
                  <a:srgbClr val="08082B"/>
                </a:solidFill>
                <a:latin typeface="Century Gothic" panose="020B0502020202020204" pitchFamily="34" charset="0"/>
              </a:rPr>
              <a:t>aut</a:t>
            </a:r>
            <a:r>
              <a:rPr lang="en-GB" sz="2300" b="0" i="0" u="none" strike="noStrike" baseline="30000">
                <a:solidFill>
                  <a:srgbClr val="08082B"/>
                </a:solidFill>
                <a:latin typeface="Century Gothic" panose="020B0502020202020204" pitchFamily="34" charset="0"/>
              </a:rPr>
              <a:t> </a:t>
            </a:r>
            <a:r>
              <a:rPr lang="en-GB" sz="2300" b="0" i="0" u="none" strike="noStrike" baseline="30000" err="1">
                <a:solidFill>
                  <a:srgbClr val="08082B"/>
                </a:solidFill>
                <a:latin typeface="Century Gothic" panose="020B0502020202020204" pitchFamily="34" charset="0"/>
              </a:rPr>
              <a:t>aut</a:t>
            </a:r>
            <a:r>
              <a:rPr lang="en-GB" sz="2300" b="0" i="0" u="none" strike="noStrike" baseline="30000">
                <a:solidFill>
                  <a:srgbClr val="08082B"/>
                </a:solidFill>
                <a:latin typeface="Century Gothic" panose="020B0502020202020204" pitchFamily="34" charset="0"/>
              </a:rPr>
              <a:t> </a:t>
            </a:r>
            <a:br>
              <a:rPr lang="en-GB" sz="2300" b="0" i="0" u="none" strike="noStrike" baseline="30000">
                <a:solidFill>
                  <a:srgbClr val="08082B"/>
                </a:solidFill>
                <a:latin typeface="Century Gothic" panose="020B0502020202020204" pitchFamily="34" charset="0"/>
              </a:rPr>
            </a:br>
            <a:r>
              <a:rPr lang="en-GB" sz="2300" b="0" i="0" u="none" strike="noStrike" baseline="30000">
                <a:solidFill>
                  <a:srgbClr val="08082B"/>
                </a:solidFill>
                <a:latin typeface="Century Gothic" panose="020B0502020202020204" pitchFamily="34" charset="0"/>
              </a:rPr>
              <a:t>et es de </a:t>
            </a:r>
            <a:r>
              <a:rPr lang="en-GB" sz="2300" b="0" i="0" u="none" strike="noStrike" baseline="30000" err="1">
                <a:solidFill>
                  <a:srgbClr val="08082B"/>
                </a:solidFill>
                <a:latin typeface="Century Gothic" panose="020B0502020202020204" pitchFamily="34" charset="0"/>
              </a:rPr>
              <a:t>providi</a:t>
            </a:r>
            <a:r>
              <a:rPr lang="en-GB" sz="2300" b="0" i="0" u="none" strike="noStrike" baseline="30000">
                <a:solidFill>
                  <a:srgbClr val="08082B"/>
                </a:solidFill>
                <a:latin typeface="Century Gothic" panose="020B0502020202020204" pitchFamily="34" charset="0"/>
              </a:rPr>
              <a:t> </a:t>
            </a:r>
            <a:r>
              <a:rPr lang="en-GB" sz="2300" b="0" i="0" u="none" strike="noStrike" baseline="30000" err="1">
                <a:solidFill>
                  <a:srgbClr val="08082B"/>
                </a:solidFill>
                <a:latin typeface="Century Gothic" panose="020B0502020202020204" pitchFamily="34" charset="0"/>
              </a:rPr>
              <a:t>aut</a:t>
            </a:r>
            <a:r>
              <a:rPr lang="en-GB" sz="2300" b="0" i="0" u="none" strike="noStrike" baseline="30000">
                <a:solidFill>
                  <a:srgbClr val="08082B"/>
                </a:solidFill>
                <a:latin typeface="Century Gothic" panose="020B0502020202020204" pitchFamily="34" charset="0"/>
              </a:rPr>
              <a:t> </a:t>
            </a:r>
            <a:r>
              <a:rPr lang="en-GB" sz="2300" b="0" i="0" u="none" strike="noStrike" baseline="30000" err="1">
                <a:solidFill>
                  <a:srgbClr val="08082B"/>
                </a:solidFill>
                <a:latin typeface="Century Gothic" panose="020B0502020202020204" pitchFamily="34" charset="0"/>
              </a:rPr>
              <a:t>fugia</a:t>
            </a:r>
            <a:r>
              <a:rPr lang="en-GB" sz="2300" b="0" i="0" u="none" strike="noStrike" baseline="30000">
                <a:solidFill>
                  <a:srgbClr val="08082B"/>
                </a:solidFill>
                <a:latin typeface="Century Gothic" panose="020B0502020202020204" pitchFamily="34" charset="0"/>
              </a:rPr>
              <a:t> </a:t>
            </a:r>
            <a:r>
              <a:rPr lang="en-GB" sz="2300" b="0" i="0" u="none" strike="noStrike" baseline="30000" err="1">
                <a:solidFill>
                  <a:srgbClr val="08082B"/>
                </a:solidFill>
                <a:latin typeface="Century Gothic" panose="020B0502020202020204" pitchFamily="34" charset="0"/>
              </a:rPr>
              <a:t>dolo</a:t>
            </a:r>
            <a:r>
              <a:rPr lang="en-GB" sz="2300" b="0" i="0" u="none" strike="noStrike" baseline="30000">
                <a:solidFill>
                  <a:srgbClr val="08082B"/>
                </a:solidFill>
                <a:latin typeface="Century Gothic" panose="020B0502020202020204" pitchFamily="34" charset="0"/>
              </a:rPr>
              <a:t> </a:t>
            </a:r>
            <a:r>
              <a:rPr lang="en-GB" sz="2300" b="0" i="0" u="none" strike="noStrike" baseline="30000" err="1">
                <a:solidFill>
                  <a:srgbClr val="08082B"/>
                </a:solidFill>
                <a:latin typeface="Century Gothic" panose="020B0502020202020204" pitchFamily="34" charset="0"/>
              </a:rPr>
              <a:t>excersp</a:t>
            </a:r>
            <a:r>
              <a:rPr lang="en-GB" sz="2300" b="0" i="0" u="none" strike="noStrike" baseline="30000">
                <a:solidFill>
                  <a:srgbClr val="08082B"/>
                </a:solidFill>
                <a:latin typeface="Century Gothic" panose="020B0502020202020204" pitchFamily="34" charset="0"/>
              </a:rPr>
              <a:t> </a:t>
            </a:r>
            <a:r>
              <a:rPr lang="en-GB" sz="2300" b="0" i="0" u="none" strike="noStrike" baseline="30000" err="1">
                <a:solidFill>
                  <a:srgbClr val="08082B"/>
                </a:solidFill>
                <a:latin typeface="Century Gothic" panose="020B0502020202020204" pitchFamily="34" charset="0"/>
              </a:rPr>
              <a:t>eritia</a:t>
            </a:r>
            <a:r>
              <a:rPr lang="en-GB" sz="2300" b="0" i="0" u="none" strike="noStrike" baseline="30000">
                <a:solidFill>
                  <a:srgbClr val="08082B"/>
                </a:solidFill>
                <a:latin typeface="Century Gothic" panose="020B0502020202020204" pitchFamily="34" charset="0"/>
              </a:rPr>
              <a:t> </a:t>
            </a:r>
            <a:r>
              <a:rPr lang="en-GB" sz="2300" b="0" i="0" u="none" strike="noStrike" baseline="30000" err="1">
                <a:solidFill>
                  <a:srgbClr val="08082B"/>
                </a:solidFill>
                <a:latin typeface="Century Gothic" panose="020B0502020202020204" pitchFamily="34" charset="0"/>
              </a:rPr>
              <a:t>voluptaerum</a:t>
            </a:r>
            <a:endParaRPr lang="fr-CA"/>
          </a:p>
        </p:txBody>
      </p:sp>
    </p:spTree>
    <p:extLst>
      <p:ext uri="{BB962C8B-B14F-4D97-AF65-F5344CB8AC3E}">
        <p14:creationId xmlns:p14="http://schemas.microsoft.com/office/powerpoint/2010/main" val="246453627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age texte avec photo - fond blanc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Objet 3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588" y="1588"/>
            <a:ext cx="1587" cy="1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Freeform 5"/>
          <p:cNvSpPr>
            <a:spLocks/>
          </p:cNvSpPr>
          <p:nvPr userDrawn="1"/>
        </p:nvSpPr>
        <p:spPr bwMode="auto">
          <a:xfrm>
            <a:off x="4067175" y="2243138"/>
            <a:ext cx="0" cy="0"/>
          </a:xfrm>
          <a:custGeom>
            <a:avLst/>
            <a:gdLst>
              <a:gd name="T0" fmla="*/ 0 60000 65536"/>
              <a:gd name="T1" fmla="*/ 0 60000 65536"/>
              <a:gd name="T2" fmla="*/ 0 60000 65536"/>
            </a:gdLst>
            <a:ahLst/>
            <a:cxnLst>
              <a:cxn ang="T0">
                <a:pos x="0" y="0"/>
              </a:cxn>
              <a:cxn ang="T1">
                <a:pos x="0" y="0"/>
              </a:cxn>
              <a:cxn ang="T2">
                <a:pos x="0" y="0"/>
              </a:cxn>
            </a:cxnLst>
            <a:rect l="0" t="0" r="r" b="b"/>
            <a:pathLst>
              <a:path>
                <a:moveTo>
                  <a:pt x="0" y="0"/>
                </a:moveTo>
                <a:cubicBezTo>
                  <a:pt x="0" y="0"/>
                  <a:pt x="0" y="0"/>
                  <a:pt x="0" y="0"/>
                </a:cubicBezTo>
                <a:cubicBezTo>
                  <a:pt x="0" y="0"/>
                  <a:pt x="0" y="0"/>
                  <a:pt x="0" y="0"/>
                </a:cubicBezTo>
                <a:close/>
              </a:path>
            </a:pathLst>
          </a:custGeom>
          <a:solidFill>
            <a:srgbClr val="FFFFFF"/>
          </a:solidFill>
          <a:ln w="9525">
            <a:noFill/>
            <a:round/>
            <a:headEnd/>
            <a:tailEnd/>
          </a:ln>
        </p:spPr>
        <p:txBody>
          <a:bodyPr lIns="102363" tIns="51178" rIns="102363" bIns="51178"/>
          <a:lstStyle/>
          <a:p>
            <a:endParaRPr lang="en-GB"/>
          </a:p>
        </p:txBody>
      </p:sp>
      <p:sp>
        <p:nvSpPr>
          <p:cNvPr id="11" name="Freeform 6"/>
          <p:cNvSpPr>
            <a:spLocks/>
          </p:cNvSpPr>
          <p:nvPr userDrawn="1"/>
        </p:nvSpPr>
        <p:spPr bwMode="auto">
          <a:xfrm>
            <a:off x="4032250" y="1962150"/>
            <a:ext cx="0" cy="0"/>
          </a:xfrm>
          <a:custGeom>
            <a:avLst/>
            <a:gdLst>
              <a:gd name="T0" fmla="*/ 0 60000 65536"/>
              <a:gd name="T1" fmla="*/ 0 60000 65536"/>
              <a:gd name="T2" fmla="*/ 0 60000 65536"/>
            </a:gdLst>
            <a:ahLst/>
            <a:cxnLst>
              <a:cxn ang="T0">
                <a:pos x="0" y="0"/>
              </a:cxn>
              <a:cxn ang="T1">
                <a:pos x="0" y="0"/>
              </a:cxn>
              <a:cxn ang="T2">
                <a:pos x="0" y="0"/>
              </a:cxn>
            </a:cxnLst>
            <a:rect l="0" t="0" r="r" b="b"/>
            <a:pathLst>
              <a:path>
                <a:moveTo>
                  <a:pt x="0" y="0"/>
                </a:moveTo>
                <a:cubicBezTo>
                  <a:pt x="0" y="0"/>
                  <a:pt x="0" y="0"/>
                  <a:pt x="0" y="0"/>
                </a:cubicBezTo>
                <a:cubicBezTo>
                  <a:pt x="0" y="0"/>
                  <a:pt x="0" y="0"/>
                  <a:pt x="0" y="0"/>
                </a:cubicBezTo>
                <a:close/>
              </a:path>
            </a:pathLst>
          </a:custGeom>
          <a:solidFill>
            <a:srgbClr val="FFFFFF"/>
          </a:solidFill>
          <a:ln w="9525">
            <a:noFill/>
            <a:round/>
            <a:headEnd/>
            <a:tailEnd/>
          </a:ln>
        </p:spPr>
        <p:txBody>
          <a:bodyPr lIns="102363" tIns="51178" rIns="102363" bIns="51178"/>
          <a:lstStyle/>
          <a:p>
            <a:endParaRPr lang="en-GB"/>
          </a:p>
        </p:txBody>
      </p:sp>
      <p:sp>
        <p:nvSpPr>
          <p:cNvPr id="16" name="Espace réservé du contenu 16">
            <a:extLst>
              <a:ext uri="{FF2B5EF4-FFF2-40B4-BE49-F238E27FC236}">
                <a16:creationId xmlns:a16="http://schemas.microsoft.com/office/drawing/2014/main" id="{F9E433C0-A231-4AC8-B431-1E603782C983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877044" y="1054101"/>
            <a:ext cx="5220544" cy="2663725"/>
          </a:xfrm>
        </p:spPr>
        <p:txBody>
          <a:bodyPr anchor="t" anchorCtr="0"/>
          <a:lstStyle>
            <a:lvl1pPr algn="l">
              <a:defRPr sz="4000">
                <a:solidFill>
                  <a:srgbClr val="07072B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fr-CA"/>
              <a:t>Page texte avec </a:t>
            </a:r>
          </a:p>
          <a:p>
            <a:pPr lvl="0"/>
            <a:r>
              <a:rPr lang="fr-CA"/>
              <a:t>long titre et photo </a:t>
            </a:r>
          </a:p>
          <a:p>
            <a:pPr lvl="0"/>
            <a:r>
              <a:rPr lang="fr-CA" err="1"/>
              <a:t>lorem</a:t>
            </a:r>
            <a:r>
              <a:rPr lang="fr-CA"/>
              <a:t> ipsum </a:t>
            </a:r>
            <a:r>
              <a:rPr lang="fr-CA" err="1"/>
              <a:t>dolor</a:t>
            </a:r>
            <a:endParaRPr lang="fr-CA"/>
          </a:p>
          <a:p>
            <a:pPr lvl="0"/>
            <a:r>
              <a:rPr lang="fr-CA" err="1"/>
              <a:t>sit</a:t>
            </a:r>
            <a:r>
              <a:rPr lang="fr-CA"/>
              <a:t> </a:t>
            </a:r>
            <a:r>
              <a:rPr lang="fr-CA" err="1"/>
              <a:t>amet</a:t>
            </a:r>
            <a:r>
              <a:rPr lang="fr-CA"/>
              <a:t>.</a:t>
            </a:r>
          </a:p>
        </p:txBody>
      </p:sp>
      <p:sp>
        <p:nvSpPr>
          <p:cNvPr id="18" name="Espace réservé du contenu 14">
            <a:extLst>
              <a:ext uri="{FF2B5EF4-FFF2-40B4-BE49-F238E27FC236}">
                <a16:creationId xmlns:a16="http://schemas.microsoft.com/office/drawing/2014/main" id="{CCF9C410-A114-49A4-86C9-FB034EA7D3AE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6313611" y="1054101"/>
            <a:ext cx="5184575" cy="2592288"/>
          </a:xfrm>
        </p:spPr>
        <p:txBody>
          <a:bodyPr numCol="1"/>
          <a:lstStyle>
            <a:lvl1pPr algn="l" rtl="0">
              <a:defRPr lang="en-GB" sz="1200" b="0" i="0" u="none" strike="noStrike" baseline="30000" smtClean="0"/>
            </a:lvl1pPr>
          </a:lstStyle>
          <a:p>
            <a:pPr rtl="0"/>
            <a:r>
              <a:rPr lang="en-GB" sz="2300" b="0" i="0" u="none" strike="noStrike" baseline="30000" err="1">
                <a:solidFill>
                  <a:srgbClr val="08082B"/>
                </a:solidFill>
                <a:latin typeface="Century Gothic" panose="020B0502020202020204" pitchFamily="34" charset="0"/>
              </a:rPr>
              <a:t>Equam</a:t>
            </a:r>
            <a:r>
              <a:rPr lang="en-GB" sz="2300" b="0" i="0" u="none" strike="noStrike" baseline="30000">
                <a:solidFill>
                  <a:srgbClr val="08082B"/>
                </a:solidFill>
                <a:latin typeface="Century Gothic" panose="020B0502020202020204" pitchFamily="34" charset="0"/>
              </a:rPr>
              <a:t> re </a:t>
            </a:r>
            <a:r>
              <a:rPr lang="en-GB" sz="2300" b="0" i="0" u="none" strike="noStrike" baseline="30000" err="1">
                <a:solidFill>
                  <a:srgbClr val="08082B"/>
                </a:solidFill>
                <a:latin typeface="Century Gothic" panose="020B0502020202020204" pitchFamily="34" charset="0"/>
              </a:rPr>
              <a:t>laboriatiis</a:t>
            </a:r>
            <a:r>
              <a:rPr lang="en-GB" sz="2300" b="0" i="0" u="none" strike="noStrike" baseline="30000">
                <a:solidFill>
                  <a:srgbClr val="08082B"/>
                </a:solidFill>
                <a:latin typeface="Century Gothic" panose="020B0502020202020204" pitchFamily="34" charset="0"/>
              </a:rPr>
              <a:t> </a:t>
            </a:r>
            <a:r>
              <a:rPr lang="en-GB" sz="2300" b="0" i="0" u="none" strike="noStrike" baseline="30000" err="1">
                <a:solidFill>
                  <a:srgbClr val="08082B"/>
                </a:solidFill>
                <a:latin typeface="Century Gothic" panose="020B0502020202020204" pitchFamily="34" charset="0"/>
              </a:rPr>
              <a:t>moluptat</a:t>
            </a:r>
            <a:r>
              <a:rPr lang="en-GB" sz="2300" b="0" i="0" u="none" strike="noStrike" baseline="30000">
                <a:solidFill>
                  <a:srgbClr val="08082B"/>
                </a:solidFill>
                <a:latin typeface="Century Gothic" panose="020B0502020202020204" pitchFamily="34" charset="0"/>
              </a:rPr>
              <a:t> </a:t>
            </a:r>
            <a:r>
              <a:rPr lang="en-GB" sz="2300" b="0" i="0" u="none" strike="noStrike" baseline="30000" err="1">
                <a:solidFill>
                  <a:srgbClr val="08082B"/>
                </a:solidFill>
                <a:latin typeface="Century Gothic" panose="020B0502020202020204" pitchFamily="34" charset="0"/>
              </a:rPr>
              <a:t>restiam</a:t>
            </a:r>
            <a:r>
              <a:rPr lang="en-GB" sz="2300" b="0" i="0" u="none" strike="noStrike" baseline="30000">
                <a:solidFill>
                  <a:srgbClr val="08082B"/>
                </a:solidFill>
                <a:latin typeface="Century Gothic" panose="020B0502020202020204" pitchFamily="34" charset="0"/>
              </a:rPr>
              <a:t>, que </a:t>
            </a:r>
            <a:r>
              <a:rPr lang="en-GB" sz="2300" b="0" i="0" u="none" strike="noStrike" baseline="30000" err="1">
                <a:solidFill>
                  <a:srgbClr val="08082B"/>
                </a:solidFill>
                <a:latin typeface="Century Gothic" panose="020B0502020202020204" pitchFamily="34" charset="0"/>
              </a:rPr>
              <a:t>labo</a:t>
            </a:r>
            <a:r>
              <a:rPr lang="en-GB" sz="2300" b="0" i="0" u="none" strike="noStrike" baseline="30000">
                <a:solidFill>
                  <a:srgbClr val="08082B"/>
                </a:solidFill>
                <a:latin typeface="Century Gothic" panose="020B0502020202020204" pitchFamily="34" charset="0"/>
              </a:rPr>
              <a:t>. </a:t>
            </a:r>
            <a:r>
              <a:rPr lang="en-GB" sz="2300" b="0" i="0" u="none" strike="noStrike" baseline="30000" err="1">
                <a:solidFill>
                  <a:srgbClr val="08082B"/>
                </a:solidFill>
                <a:latin typeface="Century Gothic" panose="020B0502020202020204" pitchFamily="34" charset="0"/>
              </a:rPr>
              <a:t>Enimus</a:t>
            </a:r>
            <a:r>
              <a:rPr lang="en-GB" sz="2300" b="0" i="0" u="none" strike="noStrike" baseline="30000">
                <a:solidFill>
                  <a:srgbClr val="08082B"/>
                </a:solidFill>
                <a:latin typeface="Century Gothic" panose="020B0502020202020204" pitchFamily="34" charset="0"/>
              </a:rPr>
              <a:t> </a:t>
            </a:r>
            <a:br>
              <a:rPr lang="en-GB" sz="2300" b="0" i="0" u="none" strike="noStrike" baseline="30000">
                <a:solidFill>
                  <a:srgbClr val="08082B"/>
                </a:solidFill>
                <a:latin typeface="Century Gothic" panose="020B0502020202020204" pitchFamily="34" charset="0"/>
              </a:rPr>
            </a:br>
            <a:r>
              <a:rPr lang="en-GB" sz="2300" b="0" i="0" u="none" strike="noStrike" baseline="30000" err="1">
                <a:solidFill>
                  <a:srgbClr val="08082B"/>
                </a:solidFill>
                <a:latin typeface="Century Gothic" panose="020B0502020202020204" pitchFamily="34" charset="0"/>
              </a:rPr>
              <a:t>estio</a:t>
            </a:r>
            <a:r>
              <a:rPr lang="en-GB" sz="2300" b="0" i="0" u="none" strike="noStrike" baseline="30000">
                <a:solidFill>
                  <a:srgbClr val="08082B"/>
                </a:solidFill>
                <a:latin typeface="Century Gothic" panose="020B0502020202020204" pitchFamily="34" charset="0"/>
              </a:rPr>
              <a:t> </a:t>
            </a:r>
            <a:r>
              <a:rPr lang="en-GB" sz="2300" b="0" i="0" u="none" strike="noStrike" baseline="30000" err="1">
                <a:solidFill>
                  <a:srgbClr val="08082B"/>
                </a:solidFill>
                <a:latin typeface="Century Gothic" panose="020B0502020202020204" pitchFamily="34" charset="0"/>
              </a:rPr>
              <a:t>ilic</a:t>
            </a:r>
            <a:r>
              <a:rPr lang="en-GB" sz="2300" b="0" i="0" u="none" strike="noStrike" baseline="30000">
                <a:solidFill>
                  <a:srgbClr val="08082B"/>
                </a:solidFill>
                <a:latin typeface="Century Gothic" panose="020B0502020202020204" pitchFamily="34" charset="0"/>
              </a:rPr>
              <a:t> </a:t>
            </a:r>
            <a:r>
              <a:rPr lang="en-GB" sz="2300" b="0" i="0" u="none" strike="noStrike" baseline="30000" err="1">
                <a:solidFill>
                  <a:srgbClr val="08082B"/>
                </a:solidFill>
                <a:latin typeface="Century Gothic" panose="020B0502020202020204" pitchFamily="34" charset="0"/>
              </a:rPr>
              <a:t>tectatecab</a:t>
            </a:r>
            <a:r>
              <a:rPr lang="en-GB" sz="2300" b="0" i="0" u="none" strike="noStrike" baseline="30000">
                <a:solidFill>
                  <a:srgbClr val="08082B"/>
                </a:solidFill>
                <a:latin typeface="Century Gothic" panose="020B0502020202020204" pitchFamily="34" charset="0"/>
              </a:rPr>
              <a:t> in </a:t>
            </a:r>
            <a:r>
              <a:rPr lang="en-GB" sz="2300" b="0" i="0" u="none" strike="noStrike" baseline="30000" err="1">
                <a:solidFill>
                  <a:srgbClr val="08082B"/>
                </a:solidFill>
                <a:latin typeface="Century Gothic" panose="020B0502020202020204" pitchFamily="34" charset="0"/>
              </a:rPr>
              <a:t>eum</a:t>
            </a:r>
            <a:r>
              <a:rPr lang="en-GB" sz="2300" b="0" i="0" u="none" strike="noStrike" baseline="30000">
                <a:solidFill>
                  <a:srgbClr val="08082B"/>
                </a:solidFill>
                <a:latin typeface="Century Gothic" panose="020B0502020202020204" pitchFamily="34" charset="0"/>
              </a:rPr>
              <a:t> quid </a:t>
            </a:r>
            <a:r>
              <a:rPr lang="en-GB" sz="2300" b="0" i="0" u="none" strike="noStrike" baseline="30000" err="1">
                <a:solidFill>
                  <a:srgbClr val="08082B"/>
                </a:solidFill>
                <a:latin typeface="Century Gothic" panose="020B0502020202020204" pitchFamily="34" charset="0"/>
              </a:rPr>
              <a:t>experi</a:t>
            </a:r>
            <a:r>
              <a:rPr lang="en-GB" sz="2300" b="0" i="0" u="none" strike="noStrike" baseline="30000">
                <a:solidFill>
                  <a:srgbClr val="08082B"/>
                </a:solidFill>
                <a:latin typeface="Century Gothic" panose="020B0502020202020204" pitchFamily="34" charset="0"/>
              </a:rPr>
              <a:t> con </a:t>
            </a:r>
            <a:r>
              <a:rPr lang="en-GB" sz="2300" b="0" i="0" u="none" strike="noStrike" baseline="30000" err="1">
                <a:solidFill>
                  <a:srgbClr val="08082B"/>
                </a:solidFill>
                <a:latin typeface="Century Gothic" panose="020B0502020202020204" pitchFamily="34" charset="0"/>
              </a:rPr>
              <a:t>nulum</a:t>
            </a:r>
            <a:r>
              <a:rPr lang="en-GB" sz="2300" b="0" i="0" u="none" strike="noStrike" baseline="30000">
                <a:solidFill>
                  <a:srgbClr val="08082B"/>
                </a:solidFill>
                <a:latin typeface="Century Gothic" panose="020B0502020202020204" pitchFamily="34" charset="0"/>
              </a:rPr>
              <a:t> </a:t>
            </a:r>
            <a:r>
              <a:rPr lang="en-GB" sz="2300" b="0" i="0" u="none" strike="noStrike" baseline="30000" err="1">
                <a:solidFill>
                  <a:srgbClr val="08082B"/>
                </a:solidFill>
                <a:latin typeface="Century Gothic" panose="020B0502020202020204" pitchFamily="34" charset="0"/>
              </a:rPr>
              <a:t>ea</a:t>
            </a:r>
            <a:r>
              <a:rPr lang="en-GB" sz="2300" b="0" i="0" u="none" strike="noStrike" baseline="30000">
                <a:solidFill>
                  <a:srgbClr val="08082B"/>
                </a:solidFill>
                <a:latin typeface="Century Gothic" panose="020B0502020202020204" pitchFamily="34" charset="0"/>
              </a:rPr>
              <a:t> </a:t>
            </a:r>
            <a:br>
              <a:rPr lang="en-GB" sz="2300" b="0" i="0" u="none" strike="noStrike" baseline="30000">
                <a:solidFill>
                  <a:srgbClr val="08082B"/>
                </a:solidFill>
                <a:latin typeface="Century Gothic" panose="020B0502020202020204" pitchFamily="34" charset="0"/>
              </a:rPr>
            </a:br>
            <a:r>
              <a:rPr lang="en-GB" sz="2300" b="0" i="0" u="none" strike="noStrike" baseline="30000">
                <a:solidFill>
                  <a:srgbClr val="08082B"/>
                </a:solidFill>
                <a:latin typeface="Century Gothic" panose="020B0502020202020204" pitchFamily="34" charset="0"/>
              </a:rPr>
              <a:t>que </a:t>
            </a:r>
            <a:r>
              <a:rPr lang="en-GB" sz="2300" b="0" i="0" u="none" strike="noStrike" baseline="30000" err="1">
                <a:solidFill>
                  <a:srgbClr val="08082B"/>
                </a:solidFill>
                <a:latin typeface="Century Gothic" panose="020B0502020202020204" pitchFamily="34" charset="0"/>
              </a:rPr>
              <a:t>nos</a:t>
            </a:r>
            <a:r>
              <a:rPr lang="en-GB" sz="2300" b="0" i="0" u="none" strike="noStrike" baseline="30000">
                <a:solidFill>
                  <a:srgbClr val="08082B"/>
                </a:solidFill>
                <a:latin typeface="Century Gothic" panose="020B0502020202020204" pitchFamily="34" charset="0"/>
              </a:rPr>
              <a:t> </a:t>
            </a:r>
            <a:r>
              <a:rPr lang="en-GB" sz="2300" b="0" i="0" u="none" strike="noStrike" baseline="30000" err="1">
                <a:solidFill>
                  <a:srgbClr val="08082B"/>
                </a:solidFill>
                <a:latin typeface="Century Gothic" panose="020B0502020202020204" pitchFamily="34" charset="0"/>
              </a:rPr>
              <a:t>rerit</a:t>
            </a:r>
            <a:r>
              <a:rPr lang="en-GB" sz="2300" b="0" i="0" u="none" strike="noStrike" baseline="30000">
                <a:solidFill>
                  <a:srgbClr val="08082B"/>
                </a:solidFill>
                <a:latin typeface="Century Gothic" panose="020B0502020202020204" pitchFamily="34" charset="0"/>
              </a:rPr>
              <a:t> quid </a:t>
            </a:r>
            <a:r>
              <a:rPr lang="en-GB" sz="2300" b="0" i="0" u="none" strike="noStrike" baseline="30000" err="1">
                <a:solidFill>
                  <a:srgbClr val="08082B"/>
                </a:solidFill>
                <a:latin typeface="Century Gothic" panose="020B0502020202020204" pitchFamily="34" charset="0"/>
              </a:rPr>
              <a:t>quatur</a:t>
            </a:r>
            <a:r>
              <a:rPr lang="en-GB" sz="2300" b="0" i="0" u="none" strike="noStrike" baseline="30000">
                <a:solidFill>
                  <a:srgbClr val="08082B"/>
                </a:solidFill>
                <a:latin typeface="Century Gothic" panose="020B0502020202020204" pitchFamily="34" charset="0"/>
              </a:rPr>
              <a:t> </a:t>
            </a:r>
            <a:r>
              <a:rPr lang="en-GB" sz="2300" b="0" i="0" u="none" strike="noStrike" baseline="30000" err="1">
                <a:solidFill>
                  <a:srgbClr val="08082B"/>
                </a:solidFill>
                <a:latin typeface="Century Gothic" panose="020B0502020202020204" pitchFamily="34" charset="0"/>
              </a:rPr>
              <a:t>aut</a:t>
            </a:r>
            <a:r>
              <a:rPr lang="en-GB" sz="2300" b="0" i="0" u="none" strike="noStrike" baseline="30000">
                <a:solidFill>
                  <a:srgbClr val="08082B"/>
                </a:solidFill>
                <a:latin typeface="Century Gothic" panose="020B0502020202020204" pitchFamily="34" charset="0"/>
              </a:rPr>
              <a:t> </a:t>
            </a:r>
            <a:r>
              <a:rPr lang="en-GB" sz="2300" b="0" i="0" u="none" strike="noStrike" baseline="30000" err="1">
                <a:solidFill>
                  <a:srgbClr val="08082B"/>
                </a:solidFill>
                <a:latin typeface="Century Gothic" panose="020B0502020202020204" pitchFamily="34" charset="0"/>
              </a:rPr>
              <a:t>laborer</a:t>
            </a:r>
            <a:r>
              <a:rPr lang="en-GB" sz="2300" b="0" i="0" u="none" strike="noStrike" baseline="30000">
                <a:solidFill>
                  <a:srgbClr val="08082B"/>
                </a:solidFill>
                <a:latin typeface="Century Gothic" panose="020B0502020202020204" pitchFamily="34" charset="0"/>
              </a:rPr>
              <a:t> </a:t>
            </a:r>
            <a:r>
              <a:rPr lang="en-GB" sz="2300" b="0" i="0" u="none" strike="noStrike" baseline="30000" err="1">
                <a:solidFill>
                  <a:srgbClr val="08082B"/>
                </a:solidFill>
                <a:latin typeface="Century Gothic" panose="020B0502020202020204" pitchFamily="34" charset="0"/>
              </a:rPr>
              <a:t>oressec</a:t>
            </a:r>
            <a:r>
              <a:rPr lang="en-GB" sz="2300" b="0" i="0" u="none" strike="noStrike" baseline="30000">
                <a:solidFill>
                  <a:srgbClr val="08082B"/>
                </a:solidFill>
                <a:latin typeface="Century Gothic" panose="020B0502020202020204" pitchFamily="34" charset="0"/>
              </a:rPr>
              <a:t> </a:t>
            </a:r>
            <a:r>
              <a:rPr lang="en-GB" sz="2300" b="0" i="0" u="none" strike="noStrike" baseline="30000" err="1">
                <a:solidFill>
                  <a:srgbClr val="08082B"/>
                </a:solidFill>
                <a:latin typeface="Century Gothic" panose="020B0502020202020204" pitchFamily="34" charset="0"/>
              </a:rPr>
              <a:t>tatur</a:t>
            </a:r>
            <a:r>
              <a:rPr lang="en-GB" sz="2300" b="0" i="0" u="none" strike="noStrike" baseline="30000">
                <a:solidFill>
                  <a:srgbClr val="08082B"/>
                </a:solidFill>
                <a:latin typeface="Century Gothic" panose="020B0502020202020204" pitchFamily="34" charset="0"/>
              </a:rPr>
              <a:t>, sim </a:t>
            </a:r>
            <a:br>
              <a:rPr lang="en-GB" sz="2300" b="0" i="0" u="none" strike="noStrike" baseline="30000">
                <a:solidFill>
                  <a:srgbClr val="08082B"/>
                </a:solidFill>
                <a:latin typeface="Century Gothic" panose="020B0502020202020204" pitchFamily="34" charset="0"/>
              </a:rPr>
            </a:br>
            <a:r>
              <a:rPr lang="en-GB" sz="2300" b="0" i="0" u="none" strike="noStrike" baseline="30000">
                <a:solidFill>
                  <a:srgbClr val="08082B"/>
                </a:solidFill>
                <a:latin typeface="Century Gothic" panose="020B0502020202020204" pitchFamily="34" charset="0"/>
              </a:rPr>
              <a:t>que </a:t>
            </a:r>
            <a:r>
              <a:rPr lang="en-GB" sz="2300" b="0" i="0" u="none" strike="noStrike" baseline="30000" err="1">
                <a:solidFill>
                  <a:srgbClr val="08082B"/>
                </a:solidFill>
                <a:latin typeface="Century Gothic" panose="020B0502020202020204" pitchFamily="34" charset="0"/>
              </a:rPr>
              <a:t>soluptatet</a:t>
            </a:r>
            <a:r>
              <a:rPr lang="en-GB" sz="2300" b="0" i="0" u="none" strike="noStrike" baseline="30000">
                <a:solidFill>
                  <a:srgbClr val="08082B"/>
                </a:solidFill>
                <a:latin typeface="Century Gothic" panose="020B0502020202020204" pitchFamily="34" charset="0"/>
              </a:rPr>
              <a:t> </a:t>
            </a:r>
            <a:r>
              <a:rPr lang="en-GB" sz="2300" b="0" i="0" u="none" strike="noStrike" baseline="30000" err="1">
                <a:solidFill>
                  <a:srgbClr val="08082B"/>
                </a:solidFill>
                <a:latin typeface="Century Gothic" panose="020B0502020202020204" pitchFamily="34" charset="0"/>
              </a:rPr>
              <a:t>audantia</a:t>
            </a:r>
            <a:r>
              <a:rPr lang="en-GB" sz="2300" b="0" i="0" u="none" strike="noStrike" baseline="30000">
                <a:solidFill>
                  <a:srgbClr val="08082B"/>
                </a:solidFill>
                <a:latin typeface="Century Gothic" panose="020B0502020202020204" pitchFamily="34" charset="0"/>
              </a:rPr>
              <a:t> </a:t>
            </a:r>
            <a:r>
              <a:rPr lang="en-GB" sz="2300" b="0" i="0" u="none" strike="noStrike" baseline="30000" err="1">
                <a:solidFill>
                  <a:srgbClr val="08082B"/>
                </a:solidFill>
                <a:latin typeface="Century Gothic" panose="020B0502020202020204" pitchFamily="34" charset="0"/>
              </a:rPr>
              <a:t>ventur</a:t>
            </a:r>
            <a:r>
              <a:rPr lang="en-GB" sz="2300" b="0" i="0" u="none" strike="noStrike" baseline="30000">
                <a:solidFill>
                  <a:srgbClr val="08082B"/>
                </a:solidFill>
                <a:latin typeface="Century Gothic" panose="020B0502020202020204" pitchFamily="34" charset="0"/>
              </a:rPr>
              <a:t>? </a:t>
            </a:r>
            <a:r>
              <a:rPr lang="en-GB" sz="2300" b="0" i="0" u="none" strike="noStrike" baseline="30000" err="1">
                <a:solidFill>
                  <a:srgbClr val="08082B"/>
                </a:solidFill>
                <a:latin typeface="Century Gothic" panose="020B0502020202020204" pitchFamily="34" charset="0"/>
              </a:rPr>
              <a:t>Temporentis</a:t>
            </a:r>
            <a:r>
              <a:rPr lang="en-GB" sz="2300" b="0" i="0" u="none" strike="noStrike" baseline="30000">
                <a:solidFill>
                  <a:srgbClr val="08082B"/>
                </a:solidFill>
                <a:latin typeface="Century Gothic" panose="020B0502020202020204" pitchFamily="34" charset="0"/>
              </a:rPr>
              <a:t> sim </a:t>
            </a:r>
            <a:r>
              <a:rPr lang="en-GB" sz="2300" b="0" i="0" u="none" strike="noStrike" baseline="30000" err="1">
                <a:solidFill>
                  <a:srgbClr val="08082B"/>
                </a:solidFill>
                <a:latin typeface="Century Gothic" panose="020B0502020202020204" pitchFamily="34" charset="0"/>
              </a:rPr>
              <a:t>cus</a:t>
            </a:r>
            <a:r>
              <a:rPr lang="en-GB" sz="2300" b="0" i="0" u="none" strike="noStrike" baseline="30000">
                <a:solidFill>
                  <a:srgbClr val="08082B"/>
                </a:solidFill>
                <a:latin typeface="Century Gothic" panose="020B0502020202020204" pitchFamily="34" charset="0"/>
              </a:rPr>
              <a:t>, </a:t>
            </a:r>
            <a:br>
              <a:rPr lang="en-GB" sz="2300" b="0" i="0" u="none" strike="noStrike" baseline="30000">
                <a:solidFill>
                  <a:srgbClr val="08082B"/>
                </a:solidFill>
                <a:latin typeface="Century Gothic" panose="020B0502020202020204" pitchFamily="34" charset="0"/>
              </a:rPr>
            </a:br>
            <a:r>
              <a:rPr lang="en-GB" sz="2300" b="0" i="0" u="none" strike="noStrike" baseline="30000" err="1">
                <a:solidFill>
                  <a:srgbClr val="08082B"/>
                </a:solidFill>
                <a:latin typeface="Century Gothic" panose="020B0502020202020204" pitchFamily="34" charset="0"/>
              </a:rPr>
              <a:t>volesti</a:t>
            </a:r>
            <a:r>
              <a:rPr lang="en-GB" sz="2300" b="0" i="0" u="none" strike="noStrike" baseline="30000">
                <a:solidFill>
                  <a:srgbClr val="08082B"/>
                </a:solidFill>
                <a:latin typeface="Century Gothic" panose="020B0502020202020204" pitchFamily="34" charset="0"/>
              </a:rPr>
              <a:t> </a:t>
            </a:r>
            <a:r>
              <a:rPr lang="en-GB" sz="2300" b="0" i="0" u="none" strike="noStrike" baseline="30000" err="1">
                <a:solidFill>
                  <a:srgbClr val="08082B"/>
                </a:solidFill>
                <a:latin typeface="Century Gothic" panose="020B0502020202020204" pitchFamily="34" charset="0"/>
              </a:rPr>
              <a:t>comni</a:t>
            </a:r>
            <a:r>
              <a:rPr lang="en-GB" sz="2300" b="0" i="0" u="none" strike="noStrike" baseline="30000">
                <a:solidFill>
                  <a:srgbClr val="08082B"/>
                </a:solidFill>
                <a:latin typeface="Century Gothic" panose="020B0502020202020204" pitchFamily="34" charset="0"/>
              </a:rPr>
              <a:t> test ped et </a:t>
            </a:r>
            <a:r>
              <a:rPr lang="en-GB" sz="2300" b="0" i="0" u="none" strike="noStrike" baseline="30000" err="1">
                <a:solidFill>
                  <a:srgbClr val="08082B"/>
                </a:solidFill>
                <a:latin typeface="Century Gothic" panose="020B0502020202020204" pitchFamily="34" charset="0"/>
              </a:rPr>
              <a:t>ut</a:t>
            </a:r>
            <a:r>
              <a:rPr lang="en-GB" sz="2300" b="0" i="0" u="none" strike="noStrike" baseline="30000">
                <a:solidFill>
                  <a:srgbClr val="08082B"/>
                </a:solidFill>
                <a:latin typeface="Century Gothic" panose="020B0502020202020204" pitchFamily="34" charset="0"/>
              </a:rPr>
              <a:t> </a:t>
            </a:r>
            <a:r>
              <a:rPr lang="en-GB" sz="2300" b="0" i="0" u="none" strike="noStrike" baseline="30000" err="1">
                <a:solidFill>
                  <a:srgbClr val="08082B"/>
                </a:solidFill>
                <a:latin typeface="Century Gothic" panose="020B0502020202020204" pitchFamily="34" charset="0"/>
              </a:rPr>
              <a:t>officature</a:t>
            </a:r>
            <a:r>
              <a:rPr lang="en-GB" sz="2300" b="0" i="0" u="none" strike="noStrike" baseline="30000">
                <a:solidFill>
                  <a:srgbClr val="08082B"/>
                </a:solidFill>
                <a:latin typeface="Century Gothic" panose="020B0502020202020204" pitchFamily="34" charset="0"/>
              </a:rPr>
              <a:t> ne </a:t>
            </a:r>
            <a:r>
              <a:rPr lang="en-GB" sz="2300" b="0" i="0" u="none" strike="noStrike" baseline="30000" err="1">
                <a:solidFill>
                  <a:srgbClr val="08082B"/>
                </a:solidFill>
                <a:latin typeface="Century Gothic" panose="020B0502020202020204" pitchFamily="34" charset="0"/>
              </a:rPr>
              <a:t>quis</a:t>
            </a:r>
            <a:r>
              <a:rPr lang="en-GB" sz="2300" b="0" i="0" u="none" strike="noStrike" baseline="30000">
                <a:solidFill>
                  <a:srgbClr val="08082B"/>
                </a:solidFill>
                <a:latin typeface="Century Gothic" panose="020B0502020202020204" pitchFamily="34" charset="0"/>
              </a:rPr>
              <a:t> am </a:t>
            </a:r>
            <a:r>
              <a:rPr lang="en-GB" sz="2300" b="0" i="0" u="none" strike="noStrike" baseline="30000" err="1">
                <a:solidFill>
                  <a:srgbClr val="08082B"/>
                </a:solidFill>
                <a:latin typeface="Century Gothic" panose="020B0502020202020204" pitchFamily="34" charset="0"/>
              </a:rPr>
              <a:t>aut</a:t>
            </a:r>
            <a:r>
              <a:rPr lang="en-GB" sz="2300" b="0" i="0" u="none" strike="noStrike" baseline="30000">
                <a:solidFill>
                  <a:srgbClr val="08082B"/>
                </a:solidFill>
                <a:latin typeface="Century Gothic" panose="020B0502020202020204" pitchFamily="34" charset="0"/>
              </a:rPr>
              <a:t> </a:t>
            </a:r>
            <a:r>
              <a:rPr lang="en-GB" sz="2300" b="0" i="0" u="none" strike="noStrike" baseline="30000" err="1">
                <a:solidFill>
                  <a:srgbClr val="08082B"/>
                </a:solidFill>
                <a:latin typeface="Century Gothic" panose="020B0502020202020204" pitchFamily="34" charset="0"/>
              </a:rPr>
              <a:t>aut</a:t>
            </a:r>
            <a:r>
              <a:rPr lang="en-GB" sz="2300" b="0" i="0" u="none" strike="noStrike" baseline="30000">
                <a:solidFill>
                  <a:srgbClr val="08082B"/>
                </a:solidFill>
                <a:latin typeface="Century Gothic" panose="020B0502020202020204" pitchFamily="34" charset="0"/>
              </a:rPr>
              <a:t> </a:t>
            </a:r>
            <a:br>
              <a:rPr lang="en-GB" sz="2300" b="0" i="0" u="none" strike="noStrike" baseline="30000">
                <a:solidFill>
                  <a:srgbClr val="08082B"/>
                </a:solidFill>
                <a:latin typeface="Century Gothic" panose="020B0502020202020204" pitchFamily="34" charset="0"/>
              </a:rPr>
            </a:br>
            <a:r>
              <a:rPr lang="en-GB" sz="2300" b="0" i="0" u="none" strike="noStrike" baseline="30000">
                <a:solidFill>
                  <a:srgbClr val="08082B"/>
                </a:solidFill>
                <a:latin typeface="Century Gothic" panose="020B0502020202020204" pitchFamily="34" charset="0"/>
              </a:rPr>
              <a:t>et es de </a:t>
            </a:r>
            <a:r>
              <a:rPr lang="en-GB" sz="2300" b="0" i="0" u="none" strike="noStrike" baseline="30000" err="1">
                <a:solidFill>
                  <a:srgbClr val="08082B"/>
                </a:solidFill>
                <a:latin typeface="Century Gothic" panose="020B0502020202020204" pitchFamily="34" charset="0"/>
              </a:rPr>
              <a:t>providi</a:t>
            </a:r>
            <a:r>
              <a:rPr lang="en-GB" sz="2300" b="0" i="0" u="none" strike="noStrike" baseline="30000">
                <a:solidFill>
                  <a:srgbClr val="08082B"/>
                </a:solidFill>
                <a:latin typeface="Century Gothic" panose="020B0502020202020204" pitchFamily="34" charset="0"/>
              </a:rPr>
              <a:t> </a:t>
            </a:r>
            <a:r>
              <a:rPr lang="en-GB" sz="2300" b="0" i="0" u="none" strike="noStrike" baseline="30000" err="1">
                <a:solidFill>
                  <a:srgbClr val="08082B"/>
                </a:solidFill>
                <a:latin typeface="Century Gothic" panose="020B0502020202020204" pitchFamily="34" charset="0"/>
              </a:rPr>
              <a:t>aut</a:t>
            </a:r>
            <a:r>
              <a:rPr lang="en-GB" sz="2300" b="0" i="0" u="none" strike="noStrike" baseline="30000">
                <a:solidFill>
                  <a:srgbClr val="08082B"/>
                </a:solidFill>
                <a:latin typeface="Century Gothic" panose="020B0502020202020204" pitchFamily="34" charset="0"/>
              </a:rPr>
              <a:t> </a:t>
            </a:r>
            <a:r>
              <a:rPr lang="en-GB" sz="2300" b="0" i="0" u="none" strike="noStrike" baseline="30000" err="1">
                <a:solidFill>
                  <a:srgbClr val="08082B"/>
                </a:solidFill>
                <a:latin typeface="Century Gothic" panose="020B0502020202020204" pitchFamily="34" charset="0"/>
              </a:rPr>
              <a:t>fugia</a:t>
            </a:r>
            <a:r>
              <a:rPr lang="en-GB" sz="2300" b="0" i="0" u="none" strike="noStrike" baseline="30000">
                <a:solidFill>
                  <a:srgbClr val="08082B"/>
                </a:solidFill>
                <a:latin typeface="Century Gothic" panose="020B0502020202020204" pitchFamily="34" charset="0"/>
              </a:rPr>
              <a:t> </a:t>
            </a:r>
            <a:r>
              <a:rPr lang="en-GB" sz="2300" b="0" i="0" u="none" strike="noStrike" baseline="30000" err="1">
                <a:solidFill>
                  <a:srgbClr val="08082B"/>
                </a:solidFill>
                <a:latin typeface="Century Gothic" panose="020B0502020202020204" pitchFamily="34" charset="0"/>
              </a:rPr>
              <a:t>dolo</a:t>
            </a:r>
            <a:r>
              <a:rPr lang="en-GB" sz="2300" b="0" i="0" u="none" strike="noStrike" baseline="30000">
                <a:solidFill>
                  <a:srgbClr val="08082B"/>
                </a:solidFill>
                <a:latin typeface="Century Gothic" panose="020B0502020202020204" pitchFamily="34" charset="0"/>
              </a:rPr>
              <a:t> </a:t>
            </a:r>
            <a:r>
              <a:rPr lang="en-GB" sz="2300" b="0" i="0" u="none" strike="noStrike" baseline="30000" err="1">
                <a:solidFill>
                  <a:srgbClr val="08082B"/>
                </a:solidFill>
                <a:latin typeface="Century Gothic" panose="020B0502020202020204" pitchFamily="34" charset="0"/>
              </a:rPr>
              <a:t>excersp</a:t>
            </a:r>
            <a:r>
              <a:rPr lang="en-GB" sz="2300" b="0" i="0" u="none" strike="noStrike" baseline="30000">
                <a:solidFill>
                  <a:srgbClr val="08082B"/>
                </a:solidFill>
                <a:latin typeface="Century Gothic" panose="020B0502020202020204" pitchFamily="34" charset="0"/>
              </a:rPr>
              <a:t> </a:t>
            </a:r>
            <a:r>
              <a:rPr lang="en-GB" sz="2300" b="0" i="0" u="none" strike="noStrike" baseline="30000" err="1">
                <a:solidFill>
                  <a:srgbClr val="08082B"/>
                </a:solidFill>
                <a:latin typeface="Century Gothic" panose="020B0502020202020204" pitchFamily="34" charset="0"/>
              </a:rPr>
              <a:t>eritia</a:t>
            </a:r>
            <a:r>
              <a:rPr lang="en-GB" sz="2300" b="0" i="0" u="none" strike="noStrike" baseline="30000">
                <a:solidFill>
                  <a:srgbClr val="08082B"/>
                </a:solidFill>
                <a:latin typeface="Century Gothic" panose="020B0502020202020204" pitchFamily="34" charset="0"/>
              </a:rPr>
              <a:t> </a:t>
            </a:r>
            <a:r>
              <a:rPr lang="en-GB" sz="2300" b="0" i="0" u="none" strike="noStrike" baseline="30000" err="1">
                <a:solidFill>
                  <a:srgbClr val="08082B"/>
                </a:solidFill>
                <a:latin typeface="Century Gothic" panose="020B0502020202020204" pitchFamily="34" charset="0"/>
              </a:rPr>
              <a:t>voluptaerum</a:t>
            </a:r>
            <a:endParaRPr lang="fr-CA"/>
          </a:p>
        </p:txBody>
      </p:sp>
    </p:spTree>
    <p:extLst>
      <p:ext uri="{BB962C8B-B14F-4D97-AF65-F5344CB8AC3E}">
        <p14:creationId xmlns:p14="http://schemas.microsoft.com/office/powerpoint/2010/main" val="307557068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ge graphique - fond blanc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Objet 3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589" y="1589"/>
            <a:ext cx="1587" cy="1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Freeform 5"/>
          <p:cNvSpPr>
            <a:spLocks/>
          </p:cNvSpPr>
          <p:nvPr userDrawn="1"/>
        </p:nvSpPr>
        <p:spPr bwMode="auto">
          <a:xfrm>
            <a:off x="4067175" y="2243138"/>
            <a:ext cx="0" cy="0"/>
          </a:xfrm>
          <a:custGeom>
            <a:avLst/>
            <a:gdLst>
              <a:gd name="T0" fmla="*/ 0 60000 65536"/>
              <a:gd name="T1" fmla="*/ 0 60000 65536"/>
              <a:gd name="T2" fmla="*/ 0 60000 65536"/>
            </a:gdLst>
            <a:ahLst/>
            <a:cxnLst>
              <a:cxn ang="T0">
                <a:pos x="0" y="0"/>
              </a:cxn>
              <a:cxn ang="T1">
                <a:pos x="0" y="0"/>
              </a:cxn>
              <a:cxn ang="T2">
                <a:pos x="0" y="0"/>
              </a:cxn>
            </a:cxnLst>
            <a:rect l="0" t="0" r="r" b="b"/>
            <a:pathLst>
              <a:path>
                <a:moveTo>
                  <a:pt x="0" y="0"/>
                </a:moveTo>
                <a:cubicBezTo>
                  <a:pt x="0" y="0"/>
                  <a:pt x="0" y="0"/>
                  <a:pt x="0" y="0"/>
                </a:cubicBezTo>
                <a:cubicBezTo>
                  <a:pt x="0" y="0"/>
                  <a:pt x="0" y="0"/>
                  <a:pt x="0" y="0"/>
                </a:cubicBezTo>
                <a:close/>
              </a:path>
            </a:pathLst>
          </a:custGeom>
          <a:solidFill>
            <a:srgbClr val="FFFFFF"/>
          </a:solidFill>
          <a:ln w="9525">
            <a:noFill/>
            <a:round/>
            <a:headEnd/>
            <a:tailEnd/>
          </a:ln>
        </p:spPr>
        <p:txBody>
          <a:bodyPr lIns="102360" tIns="51177" rIns="102360" bIns="51177"/>
          <a:lstStyle/>
          <a:p>
            <a:endParaRPr lang="en-GB" sz="2399"/>
          </a:p>
        </p:txBody>
      </p:sp>
      <p:sp>
        <p:nvSpPr>
          <p:cNvPr id="11" name="Freeform 6"/>
          <p:cNvSpPr>
            <a:spLocks/>
          </p:cNvSpPr>
          <p:nvPr userDrawn="1"/>
        </p:nvSpPr>
        <p:spPr bwMode="auto">
          <a:xfrm>
            <a:off x="4032250" y="1962150"/>
            <a:ext cx="0" cy="0"/>
          </a:xfrm>
          <a:custGeom>
            <a:avLst/>
            <a:gdLst>
              <a:gd name="T0" fmla="*/ 0 60000 65536"/>
              <a:gd name="T1" fmla="*/ 0 60000 65536"/>
              <a:gd name="T2" fmla="*/ 0 60000 65536"/>
            </a:gdLst>
            <a:ahLst/>
            <a:cxnLst>
              <a:cxn ang="T0">
                <a:pos x="0" y="0"/>
              </a:cxn>
              <a:cxn ang="T1">
                <a:pos x="0" y="0"/>
              </a:cxn>
              <a:cxn ang="T2">
                <a:pos x="0" y="0"/>
              </a:cxn>
            </a:cxnLst>
            <a:rect l="0" t="0" r="r" b="b"/>
            <a:pathLst>
              <a:path>
                <a:moveTo>
                  <a:pt x="0" y="0"/>
                </a:moveTo>
                <a:cubicBezTo>
                  <a:pt x="0" y="0"/>
                  <a:pt x="0" y="0"/>
                  <a:pt x="0" y="0"/>
                </a:cubicBezTo>
                <a:cubicBezTo>
                  <a:pt x="0" y="0"/>
                  <a:pt x="0" y="0"/>
                  <a:pt x="0" y="0"/>
                </a:cubicBezTo>
                <a:close/>
              </a:path>
            </a:pathLst>
          </a:custGeom>
          <a:solidFill>
            <a:srgbClr val="FFFFFF"/>
          </a:solidFill>
          <a:ln w="9525">
            <a:noFill/>
            <a:round/>
            <a:headEnd/>
            <a:tailEnd/>
          </a:ln>
        </p:spPr>
        <p:txBody>
          <a:bodyPr lIns="102360" tIns="51177" rIns="102360" bIns="51177"/>
          <a:lstStyle/>
          <a:p>
            <a:endParaRPr lang="en-GB" sz="2399"/>
          </a:p>
        </p:txBody>
      </p:sp>
      <p:sp>
        <p:nvSpPr>
          <p:cNvPr id="9" name="Espace réservé du texte 8">
            <a:extLst>
              <a:ext uri="{FF2B5EF4-FFF2-40B4-BE49-F238E27FC236}">
                <a16:creationId xmlns:a16="http://schemas.microsoft.com/office/drawing/2014/main" id="{611DE428-05D4-42FE-B9C2-02D4220CDC4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777108" y="333452"/>
            <a:ext cx="1872207" cy="287337"/>
          </a:xfrm>
        </p:spPr>
        <p:txBody>
          <a:bodyPr anchor="b" anchorCtr="0"/>
          <a:lstStyle>
            <a:lvl1pPr>
              <a:defRPr sz="800">
                <a:solidFill>
                  <a:srgbClr val="07072B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fr-CA"/>
              <a:t>Graphique</a:t>
            </a:r>
          </a:p>
        </p:txBody>
      </p:sp>
      <p:sp>
        <p:nvSpPr>
          <p:cNvPr id="27" name="Espace réservé du numéro de diapositive 26">
            <a:extLst>
              <a:ext uri="{FF2B5EF4-FFF2-40B4-BE49-F238E27FC236}">
                <a16:creationId xmlns:a16="http://schemas.microsoft.com/office/drawing/2014/main" id="{2DEBE434-B189-41F7-9989-933C9601248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10752229" y="333451"/>
            <a:ext cx="539750" cy="335892"/>
          </a:xfrm>
          <a:prstGeom prst="rect">
            <a:avLst/>
          </a:prstGeom>
        </p:spPr>
        <p:txBody>
          <a:bodyPr lIns="91434" tIns="45717" rIns="91434" bIns="45717" anchor="b" anchorCtr="0"/>
          <a:lstStyle>
            <a:lvl1pPr>
              <a:defRPr sz="800">
                <a:solidFill>
                  <a:srgbClr val="222644"/>
                </a:solidFill>
                <a:latin typeface="Century Gothic" panose="020B0502020202020204" pitchFamily="34" charset="0"/>
              </a:defRPr>
            </a:lvl1pPr>
          </a:lstStyle>
          <a:p>
            <a:pPr algn="r">
              <a:defRPr/>
            </a:pPr>
            <a:fld id="{89AA4CF2-98ED-4480-867D-4533B78D23B5}" type="slidenum">
              <a:rPr lang="fr-CA" altLang="fr-FR" smtClean="0"/>
              <a:pPr algn="r">
                <a:defRPr/>
              </a:pPr>
              <a:t>‹#›</a:t>
            </a:fld>
            <a:endParaRPr lang="fr-CA" altLang="fr-FR"/>
          </a:p>
        </p:txBody>
      </p:sp>
      <p:sp>
        <p:nvSpPr>
          <p:cNvPr id="12" name="Espace réservé du contenu 16">
            <a:extLst>
              <a:ext uri="{FF2B5EF4-FFF2-40B4-BE49-F238E27FC236}">
                <a16:creationId xmlns:a16="http://schemas.microsoft.com/office/drawing/2014/main" id="{F9E433C0-A231-4AC8-B431-1E603782C983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877045" y="1054102"/>
            <a:ext cx="9469016" cy="1367581"/>
          </a:xfrm>
        </p:spPr>
        <p:txBody>
          <a:bodyPr anchor="t" anchorCtr="0"/>
          <a:lstStyle>
            <a:lvl1pPr algn="l">
              <a:defRPr sz="4000">
                <a:solidFill>
                  <a:srgbClr val="07072B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fr-CA"/>
              <a:t>Page texte avec long titre et photo </a:t>
            </a:r>
            <a:r>
              <a:rPr lang="fr-CA" err="1"/>
              <a:t>lorem</a:t>
            </a:r>
            <a:r>
              <a:rPr lang="fr-CA"/>
              <a:t> </a:t>
            </a:r>
            <a:r>
              <a:rPr lang="fr-CA" err="1"/>
              <a:t>ipsum</a:t>
            </a:r>
            <a:r>
              <a:rPr lang="fr-CA"/>
              <a:t> </a:t>
            </a:r>
            <a:r>
              <a:rPr lang="fr-CA" err="1"/>
              <a:t>dolor</a:t>
            </a:r>
            <a:r>
              <a:rPr lang="fr-CA"/>
              <a:t> </a:t>
            </a:r>
            <a:r>
              <a:rPr lang="fr-CA" err="1"/>
              <a:t>sit</a:t>
            </a:r>
            <a:r>
              <a:rPr lang="fr-CA"/>
              <a:t> </a:t>
            </a:r>
            <a:r>
              <a:rPr lang="fr-CA" err="1"/>
              <a:t>amet</a:t>
            </a:r>
            <a:r>
              <a:rPr lang="fr-CA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4040499758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ge section A">
    <p:bg>
      <p:bgPr>
        <a:gradFill>
          <a:gsLst>
            <a:gs pos="0">
              <a:srgbClr val="F6F7FB"/>
            </a:gs>
            <a:gs pos="100000">
              <a:srgbClr val="B1BFD3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Objet 3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588" y="1588"/>
            <a:ext cx="1587" cy="1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Freeform 5"/>
          <p:cNvSpPr>
            <a:spLocks/>
          </p:cNvSpPr>
          <p:nvPr userDrawn="1"/>
        </p:nvSpPr>
        <p:spPr bwMode="auto">
          <a:xfrm>
            <a:off x="4067175" y="2243138"/>
            <a:ext cx="0" cy="0"/>
          </a:xfrm>
          <a:custGeom>
            <a:avLst/>
            <a:gdLst>
              <a:gd name="T0" fmla="*/ 0 60000 65536"/>
              <a:gd name="T1" fmla="*/ 0 60000 65536"/>
              <a:gd name="T2" fmla="*/ 0 60000 65536"/>
            </a:gdLst>
            <a:ahLst/>
            <a:cxnLst>
              <a:cxn ang="T0">
                <a:pos x="0" y="0"/>
              </a:cxn>
              <a:cxn ang="T1">
                <a:pos x="0" y="0"/>
              </a:cxn>
              <a:cxn ang="T2">
                <a:pos x="0" y="0"/>
              </a:cxn>
            </a:cxnLst>
            <a:rect l="0" t="0" r="r" b="b"/>
            <a:pathLst>
              <a:path>
                <a:moveTo>
                  <a:pt x="0" y="0"/>
                </a:moveTo>
                <a:cubicBezTo>
                  <a:pt x="0" y="0"/>
                  <a:pt x="0" y="0"/>
                  <a:pt x="0" y="0"/>
                </a:cubicBezTo>
                <a:cubicBezTo>
                  <a:pt x="0" y="0"/>
                  <a:pt x="0" y="0"/>
                  <a:pt x="0" y="0"/>
                </a:cubicBezTo>
                <a:close/>
              </a:path>
            </a:pathLst>
          </a:custGeom>
          <a:solidFill>
            <a:srgbClr val="FFFFFF"/>
          </a:solidFill>
          <a:ln w="9525">
            <a:noFill/>
            <a:round/>
            <a:headEnd/>
            <a:tailEnd/>
          </a:ln>
        </p:spPr>
        <p:txBody>
          <a:bodyPr lIns="102363" tIns="51178" rIns="102363" bIns="51178"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11" name="Freeform 6"/>
          <p:cNvSpPr>
            <a:spLocks/>
          </p:cNvSpPr>
          <p:nvPr userDrawn="1"/>
        </p:nvSpPr>
        <p:spPr bwMode="auto">
          <a:xfrm>
            <a:off x="4032250" y="1962150"/>
            <a:ext cx="0" cy="0"/>
          </a:xfrm>
          <a:custGeom>
            <a:avLst/>
            <a:gdLst>
              <a:gd name="T0" fmla="*/ 0 60000 65536"/>
              <a:gd name="T1" fmla="*/ 0 60000 65536"/>
              <a:gd name="T2" fmla="*/ 0 60000 65536"/>
            </a:gdLst>
            <a:ahLst/>
            <a:cxnLst>
              <a:cxn ang="T0">
                <a:pos x="0" y="0"/>
              </a:cxn>
              <a:cxn ang="T1">
                <a:pos x="0" y="0"/>
              </a:cxn>
              <a:cxn ang="T2">
                <a:pos x="0" y="0"/>
              </a:cxn>
            </a:cxnLst>
            <a:rect l="0" t="0" r="r" b="b"/>
            <a:pathLst>
              <a:path>
                <a:moveTo>
                  <a:pt x="0" y="0"/>
                </a:moveTo>
                <a:cubicBezTo>
                  <a:pt x="0" y="0"/>
                  <a:pt x="0" y="0"/>
                  <a:pt x="0" y="0"/>
                </a:cubicBezTo>
                <a:cubicBezTo>
                  <a:pt x="0" y="0"/>
                  <a:pt x="0" y="0"/>
                  <a:pt x="0" y="0"/>
                </a:cubicBezTo>
                <a:close/>
              </a:path>
            </a:pathLst>
          </a:custGeom>
          <a:solidFill>
            <a:srgbClr val="FFFFFF"/>
          </a:solidFill>
          <a:ln w="9525">
            <a:noFill/>
            <a:round/>
            <a:headEnd/>
            <a:tailEnd/>
          </a:ln>
        </p:spPr>
        <p:txBody>
          <a:bodyPr lIns="102363" tIns="51178" rIns="102363" bIns="51178"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15" name="Espace réservé du contenu 14">
            <a:extLst>
              <a:ext uri="{FF2B5EF4-FFF2-40B4-BE49-F238E27FC236}">
                <a16:creationId xmlns:a16="http://schemas.microsoft.com/office/drawing/2014/main" id="{8E6D8F5F-AE41-47A6-B8D2-85F5131EBCE3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1812926" y="2854325"/>
            <a:ext cx="8569324" cy="2951163"/>
          </a:xfrm>
        </p:spPr>
        <p:txBody>
          <a:bodyPr/>
          <a:lstStyle>
            <a:lvl1pPr algn="ctr">
              <a:defRPr sz="4000">
                <a:solidFill>
                  <a:srgbClr val="7A96BA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da-DK"/>
              <a:t>Lorem ipsum dolor sit </a:t>
            </a:r>
          </a:p>
          <a:p>
            <a:pPr lvl="0"/>
            <a:r>
              <a:rPr lang="da-DK"/>
              <a:t>lorem ipsum dolor sit amet.</a:t>
            </a:r>
            <a:endParaRPr lang="fr-CA"/>
          </a:p>
        </p:txBody>
      </p:sp>
      <p:sp>
        <p:nvSpPr>
          <p:cNvPr id="17" name="Espace réservé du contenu 16">
            <a:extLst>
              <a:ext uri="{FF2B5EF4-FFF2-40B4-BE49-F238E27FC236}">
                <a16:creationId xmlns:a16="http://schemas.microsoft.com/office/drawing/2014/main" id="{06E14FE5-B3E7-415C-ABAD-0A0FB498390E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5160964" y="2133601"/>
            <a:ext cx="1800225" cy="720726"/>
          </a:xfrm>
        </p:spPr>
        <p:txBody>
          <a:bodyPr anchor="b" anchorCtr="0"/>
          <a:lstStyle>
            <a:lvl1pPr algn="ctr">
              <a:defRPr sz="1700">
                <a:solidFill>
                  <a:srgbClr val="7A96BA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fr-FR"/>
              <a:t>Section A</a:t>
            </a:r>
            <a:endParaRPr lang="fr-CA"/>
          </a:p>
        </p:txBody>
      </p:sp>
      <p:pic>
        <p:nvPicPr>
          <p:cNvPr id="23" name="Image 22">
            <a:extLst>
              <a:ext uri="{FF2B5EF4-FFF2-40B4-BE49-F238E27FC236}">
                <a16:creationId xmlns:a16="http://schemas.microsoft.com/office/drawing/2014/main" id="{44FE5A5D-E8E1-4A2B-9DA5-F0BF2EF21F8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1" b="21231"/>
          <a:stretch/>
        </p:blipFill>
        <p:spPr>
          <a:xfrm>
            <a:off x="985019" y="284895"/>
            <a:ext cx="432048" cy="264579"/>
          </a:xfrm>
          <a:prstGeom prst="rect">
            <a:avLst/>
          </a:prstGeom>
        </p:spPr>
      </p:pic>
      <p:sp>
        <p:nvSpPr>
          <p:cNvPr id="28" name="Espace réservé du numéro de diapositive 2">
            <a:extLst>
              <a:ext uri="{FF2B5EF4-FFF2-40B4-BE49-F238E27FC236}">
                <a16:creationId xmlns:a16="http://schemas.microsoft.com/office/drawing/2014/main" id="{E2BDDB7F-3333-473B-98EA-3CB197EAF1F5}"/>
              </a:ext>
            </a:extLst>
          </p:cNvPr>
          <p:cNvSpPr txBox="1">
            <a:spLocks/>
          </p:cNvSpPr>
          <p:nvPr userDrawn="1"/>
        </p:nvSpPr>
        <p:spPr>
          <a:xfrm>
            <a:off x="616397" y="6510338"/>
            <a:ext cx="539750" cy="363537"/>
          </a:xfrm>
          <a:prstGeom prst="rect">
            <a:avLst/>
          </a:prstGeom>
        </p:spPr>
        <p:txBody>
          <a:bodyPr vert="horz" wrap="square" lIns="120902" tIns="60451" rIns="120902" bIns="60451" numCol="1" anchor="ctr" anchorCtr="0" compatLnSpc="1">
            <a:prstTxWarp prst="textNoShape">
              <a:avLst/>
            </a:prstTxWarp>
            <a:noAutofit/>
          </a:bodyPr>
          <a:lstStyle>
            <a:defPPr>
              <a:defRPr lang="fr-FR"/>
            </a:defPPr>
            <a:lvl1pPr algn="l" defTabSz="1217613" rtl="0" eaLnBrk="1" fontAlgn="base" hangingPunct="1">
              <a:spcBef>
                <a:spcPct val="0"/>
              </a:spcBef>
              <a:spcAft>
                <a:spcPct val="0"/>
              </a:spcAft>
              <a:defRPr sz="900" kern="1200" smtClean="0">
                <a:solidFill>
                  <a:schemeClr val="bg1">
                    <a:lumMod val="7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08013" indent="-150813" algn="l" defTabSz="1217613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2pPr>
            <a:lvl3pPr marL="1217613" indent="-303213" algn="l" defTabSz="1217613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3pPr>
            <a:lvl4pPr marL="1827213" indent="-455613" algn="l" defTabSz="1217613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4pPr>
            <a:lvl5pPr marL="2436813" indent="-608013" algn="l" defTabSz="1217613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9pPr>
          </a:lstStyle>
          <a:p>
            <a:pPr>
              <a:defRPr/>
            </a:pPr>
            <a:fld id="{5C78C233-16E4-40EE-8E77-456E7AF3EE9A}" type="slidenum">
              <a:rPr lang="fr-CA" altLang="fr-FR">
                <a:solidFill>
                  <a:srgbClr val="FFFFFF">
                    <a:lumMod val="75000"/>
                  </a:srgbClr>
                </a:solidFill>
              </a:rPr>
              <a:pPr>
                <a:defRPr/>
              </a:pPr>
              <a:t>‹#›</a:t>
            </a:fld>
            <a:endParaRPr lang="fr-CA" altLang="fr-FR">
              <a:solidFill>
                <a:srgbClr val="FFFFFF">
                  <a:lumMod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52048236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ge section A">
    <p:bg>
      <p:bgPr>
        <a:gradFill>
          <a:gsLst>
            <a:gs pos="0">
              <a:srgbClr val="F6F7FB"/>
            </a:gs>
            <a:gs pos="100000">
              <a:srgbClr val="B1BFD3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Objet 3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588" y="1588"/>
            <a:ext cx="1587" cy="1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Freeform 5"/>
          <p:cNvSpPr>
            <a:spLocks/>
          </p:cNvSpPr>
          <p:nvPr userDrawn="1"/>
        </p:nvSpPr>
        <p:spPr bwMode="auto">
          <a:xfrm>
            <a:off x="4067175" y="2243138"/>
            <a:ext cx="0" cy="0"/>
          </a:xfrm>
          <a:custGeom>
            <a:avLst/>
            <a:gdLst>
              <a:gd name="T0" fmla="*/ 0 60000 65536"/>
              <a:gd name="T1" fmla="*/ 0 60000 65536"/>
              <a:gd name="T2" fmla="*/ 0 60000 65536"/>
            </a:gdLst>
            <a:ahLst/>
            <a:cxnLst>
              <a:cxn ang="T0">
                <a:pos x="0" y="0"/>
              </a:cxn>
              <a:cxn ang="T1">
                <a:pos x="0" y="0"/>
              </a:cxn>
              <a:cxn ang="T2">
                <a:pos x="0" y="0"/>
              </a:cxn>
            </a:cxnLst>
            <a:rect l="0" t="0" r="r" b="b"/>
            <a:pathLst>
              <a:path>
                <a:moveTo>
                  <a:pt x="0" y="0"/>
                </a:moveTo>
                <a:cubicBezTo>
                  <a:pt x="0" y="0"/>
                  <a:pt x="0" y="0"/>
                  <a:pt x="0" y="0"/>
                </a:cubicBezTo>
                <a:cubicBezTo>
                  <a:pt x="0" y="0"/>
                  <a:pt x="0" y="0"/>
                  <a:pt x="0" y="0"/>
                </a:cubicBezTo>
                <a:close/>
              </a:path>
            </a:pathLst>
          </a:custGeom>
          <a:solidFill>
            <a:srgbClr val="FFFFFF"/>
          </a:solidFill>
          <a:ln w="9525">
            <a:noFill/>
            <a:round/>
            <a:headEnd/>
            <a:tailEnd/>
          </a:ln>
        </p:spPr>
        <p:txBody>
          <a:bodyPr lIns="102363" tIns="51178" rIns="102363" bIns="51178"/>
          <a:lstStyle/>
          <a:p>
            <a:endParaRPr lang="en-GB" dirty="0"/>
          </a:p>
        </p:txBody>
      </p:sp>
      <p:sp>
        <p:nvSpPr>
          <p:cNvPr id="11" name="Freeform 6"/>
          <p:cNvSpPr>
            <a:spLocks/>
          </p:cNvSpPr>
          <p:nvPr userDrawn="1"/>
        </p:nvSpPr>
        <p:spPr bwMode="auto">
          <a:xfrm>
            <a:off x="4032250" y="1962150"/>
            <a:ext cx="0" cy="0"/>
          </a:xfrm>
          <a:custGeom>
            <a:avLst/>
            <a:gdLst>
              <a:gd name="T0" fmla="*/ 0 60000 65536"/>
              <a:gd name="T1" fmla="*/ 0 60000 65536"/>
              <a:gd name="T2" fmla="*/ 0 60000 65536"/>
            </a:gdLst>
            <a:ahLst/>
            <a:cxnLst>
              <a:cxn ang="T0">
                <a:pos x="0" y="0"/>
              </a:cxn>
              <a:cxn ang="T1">
                <a:pos x="0" y="0"/>
              </a:cxn>
              <a:cxn ang="T2">
                <a:pos x="0" y="0"/>
              </a:cxn>
            </a:cxnLst>
            <a:rect l="0" t="0" r="r" b="b"/>
            <a:pathLst>
              <a:path>
                <a:moveTo>
                  <a:pt x="0" y="0"/>
                </a:moveTo>
                <a:cubicBezTo>
                  <a:pt x="0" y="0"/>
                  <a:pt x="0" y="0"/>
                  <a:pt x="0" y="0"/>
                </a:cubicBezTo>
                <a:cubicBezTo>
                  <a:pt x="0" y="0"/>
                  <a:pt x="0" y="0"/>
                  <a:pt x="0" y="0"/>
                </a:cubicBezTo>
                <a:close/>
              </a:path>
            </a:pathLst>
          </a:custGeom>
          <a:solidFill>
            <a:srgbClr val="FFFFFF"/>
          </a:solidFill>
          <a:ln w="9525">
            <a:noFill/>
            <a:round/>
            <a:headEnd/>
            <a:tailEnd/>
          </a:ln>
        </p:spPr>
        <p:txBody>
          <a:bodyPr lIns="102363" tIns="51178" rIns="102363" bIns="51178"/>
          <a:lstStyle/>
          <a:p>
            <a:endParaRPr lang="en-GB" dirty="0"/>
          </a:p>
        </p:txBody>
      </p:sp>
      <p:sp>
        <p:nvSpPr>
          <p:cNvPr id="9" name="Espace réservé du texte 8">
            <a:extLst>
              <a:ext uri="{FF2B5EF4-FFF2-40B4-BE49-F238E27FC236}">
                <a16:creationId xmlns:a16="http://schemas.microsoft.com/office/drawing/2014/main" id="{611DE428-05D4-42FE-B9C2-02D4220CDC4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777107" y="333451"/>
            <a:ext cx="1872207" cy="287337"/>
          </a:xfrm>
        </p:spPr>
        <p:txBody>
          <a:bodyPr anchor="b" anchorCtr="0"/>
          <a:lstStyle>
            <a:lvl1pPr>
              <a:defRPr sz="800">
                <a:solidFill>
                  <a:srgbClr val="07072B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fr-CA" dirty="0"/>
              <a:t>Page de section</a:t>
            </a:r>
          </a:p>
        </p:txBody>
      </p:sp>
      <p:sp>
        <p:nvSpPr>
          <p:cNvPr id="15" name="Espace réservé du contenu 14">
            <a:extLst>
              <a:ext uri="{FF2B5EF4-FFF2-40B4-BE49-F238E27FC236}">
                <a16:creationId xmlns:a16="http://schemas.microsoft.com/office/drawing/2014/main" id="{8E6D8F5F-AE41-47A6-B8D2-85F5131EBCE3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1812926" y="2854325"/>
            <a:ext cx="8569324" cy="2951163"/>
          </a:xfrm>
        </p:spPr>
        <p:txBody>
          <a:bodyPr/>
          <a:lstStyle>
            <a:lvl1pPr algn="ctr">
              <a:defRPr sz="4000">
                <a:solidFill>
                  <a:srgbClr val="7A96BA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da-DK" dirty="0"/>
              <a:t>Lorem ipsum dolor sit </a:t>
            </a:r>
          </a:p>
          <a:p>
            <a:pPr lvl="0"/>
            <a:r>
              <a:rPr lang="da-DK" dirty="0"/>
              <a:t>lorem ipsum dolor sit amet.</a:t>
            </a:r>
            <a:endParaRPr lang="fr-CA" dirty="0"/>
          </a:p>
        </p:txBody>
      </p:sp>
      <p:sp>
        <p:nvSpPr>
          <p:cNvPr id="17" name="Espace réservé du contenu 16">
            <a:extLst>
              <a:ext uri="{FF2B5EF4-FFF2-40B4-BE49-F238E27FC236}">
                <a16:creationId xmlns:a16="http://schemas.microsoft.com/office/drawing/2014/main" id="{06E14FE5-B3E7-415C-ABAD-0A0FB498390E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5160964" y="2133601"/>
            <a:ext cx="1800225" cy="720726"/>
          </a:xfrm>
        </p:spPr>
        <p:txBody>
          <a:bodyPr anchor="b" anchorCtr="0"/>
          <a:lstStyle>
            <a:lvl1pPr algn="ctr">
              <a:defRPr sz="1700">
                <a:solidFill>
                  <a:srgbClr val="7A96BA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fr-FR" dirty="0"/>
              <a:t>Section A</a:t>
            </a:r>
            <a:endParaRPr lang="fr-CA" dirty="0"/>
          </a:p>
        </p:txBody>
      </p:sp>
      <p:pic>
        <p:nvPicPr>
          <p:cNvPr id="23" name="Image 22">
            <a:extLst>
              <a:ext uri="{FF2B5EF4-FFF2-40B4-BE49-F238E27FC236}">
                <a16:creationId xmlns:a16="http://schemas.microsoft.com/office/drawing/2014/main" id="{44FE5A5D-E8E1-4A2B-9DA5-F0BF2EF21F8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1" b="21231"/>
          <a:stretch/>
        </p:blipFill>
        <p:spPr>
          <a:xfrm>
            <a:off x="985019" y="284895"/>
            <a:ext cx="432048" cy="264579"/>
          </a:xfrm>
          <a:prstGeom prst="rect">
            <a:avLst/>
          </a:prstGeom>
        </p:spPr>
      </p:pic>
      <p:sp>
        <p:nvSpPr>
          <p:cNvPr id="27" name="Espace réservé du numéro de diapositive 26">
            <a:extLst>
              <a:ext uri="{FF2B5EF4-FFF2-40B4-BE49-F238E27FC236}">
                <a16:creationId xmlns:a16="http://schemas.microsoft.com/office/drawing/2014/main" id="{2DEBE434-B189-41F7-9989-933C9601248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10752228" y="333451"/>
            <a:ext cx="539750" cy="335892"/>
          </a:xfrm>
          <a:prstGeom prst="rect">
            <a:avLst/>
          </a:prstGeom>
        </p:spPr>
        <p:txBody>
          <a:bodyPr lIns="91434" tIns="45717" rIns="91434" bIns="45717" anchor="b" anchorCtr="0"/>
          <a:lstStyle>
            <a:lvl1pPr>
              <a:defRPr sz="800">
                <a:solidFill>
                  <a:srgbClr val="07072B"/>
                </a:solidFill>
                <a:latin typeface="Century Gothic" panose="020B0502020202020204" pitchFamily="34" charset="0"/>
              </a:defRPr>
            </a:lvl1pPr>
          </a:lstStyle>
          <a:p>
            <a:pPr algn="r">
              <a:defRPr/>
            </a:pPr>
            <a:fld id="{89AA4CF2-98ED-4480-867D-4533B78D23B5}" type="slidenum">
              <a:rPr lang="fr-CA" altLang="fr-FR" smtClean="0"/>
              <a:pPr algn="r">
                <a:defRPr/>
              </a:pPr>
              <a:t>‹#›</a:t>
            </a:fld>
            <a:endParaRPr lang="fr-CA" altLang="fr-FR" dirty="0"/>
          </a:p>
        </p:txBody>
      </p:sp>
      <p:sp>
        <p:nvSpPr>
          <p:cNvPr id="28" name="Espace réservé du numéro de diapositive 2">
            <a:extLst>
              <a:ext uri="{FF2B5EF4-FFF2-40B4-BE49-F238E27FC236}">
                <a16:creationId xmlns:a16="http://schemas.microsoft.com/office/drawing/2014/main" id="{E2BDDB7F-3333-473B-98EA-3CB197EAF1F5}"/>
              </a:ext>
            </a:extLst>
          </p:cNvPr>
          <p:cNvSpPr txBox="1">
            <a:spLocks/>
          </p:cNvSpPr>
          <p:nvPr userDrawn="1"/>
        </p:nvSpPr>
        <p:spPr>
          <a:xfrm>
            <a:off x="616397" y="6510338"/>
            <a:ext cx="539750" cy="363537"/>
          </a:xfrm>
          <a:prstGeom prst="rect">
            <a:avLst/>
          </a:prstGeom>
        </p:spPr>
        <p:txBody>
          <a:bodyPr vert="horz" wrap="square" lIns="120902" tIns="60451" rIns="120902" bIns="60451" numCol="1" anchor="ctr" anchorCtr="0" compatLnSpc="1">
            <a:prstTxWarp prst="textNoShape">
              <a:avLst/>
            </a:prstTxWarp>
            <a:noAutofit/>
          </a:bodyPr>
          <a:lstStyle>
            <a:defPPr>
              <a:defRPr lang="fr-FR"/>
            </a:defPPr>
            <a:lvl1pPr algn="l" defTabSz="1217613" rtl="0" eaLnBrk="1" fontAlgn="base" hangingPunct="1">
              <a:spcBef>
                <a:spcPct val="0"/>
              </a:spcBef>
              <a:spcAft>
                <a:spcPct val="0"/>
              </a:spcAft>
              <a:defRPr sz="900" kern="1200" smtClean="0">
                <a:solidFill>
                  <a:schemeClr val="bg1">
                    <a:lumMod val="7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08013" indent="-150813" algn="l" defTabSz="1217613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2pPr>
            <a:lvl3pPr marL="1217613" indent="-303213" algn="l" defTabSz="1217613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3pPr>
            <a:lvl4pPr marL="1827213" indent="-455613" algn="l" defTabSz="1217613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4pPr>
            <a:lvl5pPr marL="2436813" indent="-608013" algn="l" defTabSz="1217613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9pPr>
          </a:lstStyle>
          <a:p>
            <a:pPr>
              <a:defRPr/>
            </a:pPr>
            <a:fld id="{5C78C233-16E4-40EE-8E77-456E7AF3EE9A}" type="slidenum">
              <a:rPr lang="fr-CA" altLang="fr-FR" smtClean="0"/>
              <a:pPr>
                <a:defRPr/>
              </a:pPr>
              <a:t>‹#›</a:t>
            </a:fld>
            <a:endParaRPr lang="fr-CA" altLang="fr-FR" dirty="0"/>
          </a:p>
        </p:txBody>
      </p:sp>
    </p:spTree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ge graphique - fond blanc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Objet 3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588" y="1588"/>
            <a:ext cx="1587" cy="1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Freeform 5"/>
          <p:cNvSpPr>
            <a:spLocks/>
          </p:cNvSpPr>
          <p:nvPr userDrawn="1"/>
        </p:nvSpPr>
        <p:spPr bwMode="auto">
          <a:xfrm>
            <a:off x="4067175" y="2243138"/>
            <a:ext cx="0" cy="0"/>
          </a:xfrm>
          <a:custGeom>
            <a:avLst/>
            <a:gdLst>
              <a:gd name="T0" fmla="*/ 0 60000 65536"/>
              <a:gd name="T1" fmla="*/ 0 60000 65536"/>
              <a:gd name="T2" fmla="*/ 0 60000 65536"/>
            </a:gdLst>
            <a:ahLst/>
            <a:cxnLst>
              <a:cxn ang="T0">
                <a:pos x="0" y="0"/>
              </a:cxn>
              <a:cxn ang="T1">
                <a:pos x="0" y="0"/>
              </a:cxn>
              <a:cxn ang="T2">
                <a:pos x="0" y="0"/>
              </a:cxn>
            </a:cxnLst>
            <a:rect l="0" t="0" r="r" b="b"/>
            <a:pathLst>
              <a:path>
                <a:moveTo>
                  <a:pt x="0" y="0"/>
                </a:moveTo>
                <a:cubicBezTo>
                  <a:pt x="0" y="0"/>
                  <a:pt x="0" y="0"/>
                  <a:pt x="0" y="0"/>
                </a:cubicBezTo>
                <a:cubicBezTo>
                  <a:pt x="0" y="0"/>
                  <a:pt x="0" y="0"/>
                  <a:pt x="0" y="0"/>
                </a:cubicBezTo>
                <a:close/>
              </a:path>
            </a:pathLst>
          </a:custGeom>
          <a:solidFill>
            <a:srgbClr val="FFFFFF"/>
          </a:solidFill>
          <a:ln w="9525">
            <a:noFill/>
            <a:round/>
            <a:headEnd/>
            <a:tailEnd/>
          </a:ln>
        </p:spPr>
        <p:txBody>
          <a:bodyPr lIns="102363" tIns="51178" rIns="102363" bIns="51178"/>
          <a:lstStyle/>
          <a:p>
            <a:endParaRPr lang="en-GB" dirty="0"/>
          </a:p>
        </p:txBody>
      </p:sp>
      <p:sp>
        <p:nvSpPr>
          <p:cNvPr id="11" name="Freeform 6"/>
          <p:cNvSpPr>
            <a:spLocks/>
          </p:cNvSpPr>
          <p:nvPr userDrawn="1"/>
        </p:nvSpPr>
        <p:spPr bwMode="auto">
          <a:xfrm>
            <a:off x="4032250" y="1962150"/>
            <a:ext cx="0" cy="0"/>
          </a:xfrm>
          <a:custGeom>
            <a:avLst/>
            <a:gdLst>
              <a:gd name="T0" fmla="*/ 0 60000 65536"/>
              <a:gd name="T1" fmla="*/ 0 60000 65536"/>
              <a:gd name="T2" fmla="*/ 0 60000 65536"/>
            </a:gdLst>
            <a:ahLst/>
            <a:cxnLst>
              <a:cxn ang="T0">
                <a:pos x="0" y="0"/>
              </a:cxn>
              <a:cxn ang="T1">
                <a:pos x="0" y="0"/>
              </a:cxn>
              <a:cxn ang="T2">
                <a:pos x="0" y="0"/>
              </a:cxn>
            </a:cxnLst>
            <a:rect l="0" t="0" r="r" b="b"/>
            <a:pathLst>
              <a:path>
                <a:moveTo>
                  <a:pt x="0" y="0"/>
                </a:moveTo>
                <a:cubicBezTo>
                  <a:pt x="0" y="0"/>
                  <a:pt x="0" y="0"/>
                  <a:pt x="0" y="0"/>
                </a:cubicBezTo>
                <a:cubicBezTo>
                  <a:pt x="0" y="0"/>
                  <a:pt x="0" y="0"/>
                  <a:pt x="0" y="0"/>
                </a:cubicBezTo>
                <a:close/>
              </a:path>
            </a:pathLst>
          </a:custGeom>
          <a:solidFill>
            <a:srgbClr val="FFFFFF"/>
          </a:solidFill>
          <a:ln w="9525">
            <a:noFill/>
            <a:round/>
            <a:headEnd/>
            <a:tailEnd/>
          </a:ln>
        </p:spPr>
        <p:txBody>
          <a:bodyPr lIns="102363" tIns="51178" rIns="102363" bIns="51178"/>
          <a:lstStyle/>
          <a:p>
            <a:endParaRPr lang="en-GB" dirty="0"/>
          </a:p>
        </p:txBody>
      </p:sp>
      <p:sp>
        <p:nvSpPr>
          <p:cNvPr id="9" name="Espace réservé du texte 8">
            <a:extLst>
              <a:ext uri="{FF2B5EF4-FFF2-40B4-BE49-F238E27FC236}">
                <a16:creationId xmlns:a16="http://schemas.microsoft.com/office/drawing/2014/main" id="{611DE428-05D4-42FE-B9C2-02D4220CDC4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777107" y="333451"/>
            <a:ext cx="1872207" cy="287337"/>
          </a:xfrm>
        </p:spPr>
        <p:txBody>
          <a:bodyPr anchor="b" anchorCtr="0"/>
          <a:lstStyle>
            <a:lvl1pPr>
              <a:defRPr sz="800">
                <a:solidFill>
                  <a:srgbClr val="07072B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fr-CA" dirty="0"/>
              <a:t>Graphique</a:t>
            </a:r>
          </a:p>
        </p:txBody>
      </p:sp>
      <p:sp>
        <p:nvSpPr>
          <p:cNvPr id="27" name="Espace réservé du numéro de diapositive 26">
            <a:extLst>
              <a:ext uri="{FF2B5EF4-FFF2-40B4-BE49-F238E27FC236}">
                <a16:creationId xmlns:a16="http://schemas.microsoft.com/office/drawing/2014/main" id="{2DEBE434-B189-41F7-9989-933C9601248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10752228" y="333451"/>
            <a:ext cx="539750" cy="335892"/>
          </a:xfrm>
          <a:prstGeom prst="rect">
            <a:avLst/>
          </a:prstGeom>
        </p:spPr>
        <p:txBody>
          <a:bodyPr lIns="91434" tIns="45717" rIns="91434" bIns="45717" anchor="b" anchorCtr="0"/>
          <a:lstStyle>
            <a:lvl1pPr>
              <a:defRPr sz="800">
                <a:solidFill>
                  <a:srgbClr val="222644"/>
                </a:solidFill>
                <a:latin typeface="Century Gothic" panose="020B0502020202020204" pitchFamily="34" charset="0"/>
              </a:defRPr>
            </a:lvl1pPr>
          </a:lstStyle>
          <a:p>
            <a:pPr algn="r">
              <a:defRPr/>
            </a:pPr>
            <a:fld id="{89AA4CF2-98ED-4480-867D-4533B78D23B5}" type="slidenum">
              <a:rPr lang="fr-CA" altLang="fr-FR" smtClean="0"/>
              <a:pPr algn="r">
                <a:defRPr/>
              </a:pPr>
              <a:t>‹#›</a:t>
            </a:fld>
            <a:endParaRPr lang="fr-CA" altLang="fr-FR" dirty="0"/>
          </a:p>
        </p:txBody>
      </p:sp>
      <p:pic>
        <p:nvPicPr>
          <p:cNvPr id="8" name="Image 7">
            <a:extLst>
              <a:ext uri="{FF2B5EF4-FFF2-40B4-BE49-F238E27FC236}">
                <a16:creationId xmlns:a16="http://schemas.microsoft.com/office/drawing/2014/main" id="{8F31C58B-8D94-4E6B-88CE-5D81F7F270D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1" b="21231"/>
          <a:stretch/>
        </p:blipFill>
        <p:spPr>
          <a:xfrm>
            <a:off x="985019" y="284895"/>
            <a:ext cx="432048" cy="264579"/>
          </a:xfrm>
          <a:prstGeom prst="rect">
            <a:avLst/>
          </a:prstGeom>
        </p:spPr>
      </p:pic>
      <p:sp>
        <p:nvSpPr>
          <p:cNvPr id="12" name="Espace réservé du contenu 16">
            <a:extLst>
              <a:ext uri="{FF2B5EF4-FFF2-40B4-BE49-F238E27FC236}">
                <a16:creationId xmlns:a16="http://schemas.microsoft.com/office/drawing/2014/main" id="{F9E433C0-A231-4AC8-B431-1E603782C983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877044" y="1054101"/>
            <a:ext cx="9469016" cy="1367581"/>
          </a:xfrm>
        </p:spPr>
        <p:txBody>
          <a:bodyPr anchor="t" anchorCtr="0"/>
          <a:lstStyle>
            <a:lvl1pPr algn="l">
              <a:defRPr sz="4000">
                <a:solidFill>
                  <a:srgbClr val="07072B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fr-CA" dirty="0"/>
              <a:t>Page texte avec long titre et photo </a:t>
            </a:r>
            <a:r>
              <a:rPr lang="fr-CA" dirty="0" err="1"/>
              <a:t>lorem</a:t>
            </a:r>
            <a:r>
              <a:rPr lang="fr-CA" dirty="0"/>
              <a:t> </a:t>
            </a:r>
            <a:r>
              <a:rPr lang="fr-CA" dirty="0" err="1"/>
              <a:t>ipsum</a:t>
            </a:r>
            <a:r>
              <a:rPr lang="fr-CA" dirty="0"/>
              <a:t> </a:t>
            </a:r>
            <a:r>
              <a:rPr lang="fr-CA" dirty="0" err="1"/>
              <a:t>dolor</a:t>
            </a:r>
            <a:r>
              <a:rPr lang="fr-CA" dirty="0"/>
              <a:t> </a:t>
            </a:r>
            <a:r>
              <a:rPr lang="fr-CA" dirty="0" err="1"/>
              <a:t>sit</a:t>
            </a:r>
            <a:r>
              <a:rPr lang="fr-CA" dirty="0"/>
              <a:t> </a:t>
            </a:r>
            <a:r>
              <a:rPr lang="fr-CA" dirty="0" err="1"/>
              <a:t>amet</a:t>
            </a:r>
            <a:r>
              <a:rPr lang="fr-CA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4040499758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ge graphique - fond blanc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Objet 3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588" y="1588"/>
            <a:ext cx="1587" cy="1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Freeform 5"/>
          <p:cNvSpPr>
            <a:spLocks/>
          </p:cNvSpPr>
          <p:nvPr userDrawn="1"/>
        </p:nvSpPr>
        <p:spPr bwMode="auto">
          <a:xfrm>
            <a:off x="4067175" y="2243138"/>
            <a:ext cx="0" cy="0"/>
          </a:xfrm>
          <a:custGeom>
            <a:avLst/>
            <a:gdLst>
              <a:gd name="T0" fmla="*/ 0 60000 65536"/>
              <a:gd name="T1" fmla="*/ 0 60000 65536"/>
              <a:gd name="T2" fmla="*/ 0 60000 65536"/>
            </a:gdLst>
            <a:ahLst/>
            <a:cxnLst>
              <a:cxn ang="T0">
                <a:pos x="0" y="0"/>
              </a:cxn>
              <a:cxn ang="T1">
                <a:pos x="0" y="0"/>
              </a:cxn>
              <a:cxn ang="T2">
                <a:pos x="0" y="0"/>
              </a:cxn>
            </a:cxnLst>
            <a:rect l="0" t="0" r="r" b="b"/>
            <a:pathLst>
              <a:path>
                <a:moveTo>
                  <a:pt x="0" y="0"/>
                </a:moveTo>
                <a:cubicBezTo>
                  <a:pt x="0" y="0"/>
                  <a:pt x="0" y="0"/>
                  <a:pt x="0" y="0"/>
                </a:cubicBezTo>
                <a:cubicBezTo>
                  <a:pt x="0" y="0"/>
                  <a:pt x="0" y="0"/>
                  <a:pt x="0" y="0"/>
                </a:cubicBezTo>
                <a:close/>
              </a:path>
            </a:pathLst>
          </a:custGeom>
          <a:solidFill>
            <a:srgbClr val="FFFFFF"/>
          </a:solidFill>
          <a:ln w="9525">
            <a:noFill/>
            <a:round/>
            <a:headEnd/>
            <a:tailEnd/>
          </a:ln>
        </p:spPr>
        <p:txBody>
          <a:bodyPr lIns="102363" tIns="51178" rIns="102363" bIns="51178"/>
          <a:lstStyle/>
          <a:p>
            <a:endParaRPr lang="en-GB"/>
          </a:p>
        </p:txBody>
      </p:sp>
      <p:sp>
        <p:nvSpPr>
          <p:cNvPr id="11" name="Freeform 6"/>
          <p:cNvSpPr>
            <a:spLocks/>
          </p:cNvSpPr>
          <p:nvPr userDrawn="1"/>
        </p:nvSpPr>
        <p:spPr bwMode="auto">
          <a:xfrm>
            <a:off x="4032250" y="1962150"/>
            <a:ext cx="0" cy="0"/>
          </a:xfrm>
          <a:custGeom>
            <a:avLst/>
            <a:gdLst>
              <a:gd name="T0" fmla="*/ 0 60000 65536"/>
              <a:gd name="T1" fmla="*/ 0 60000 65536"/>
              <a:gd name="T2" fmla="*/ 0 60000 65536"/>
            </a:gdLst>
            <a:ahLst/>
            <a:cxnLst>
              <a:cxn ang="T0">
                <a:pos x="0" y="0"/>
              </a:cxn>
              <a:cxn ang="T1">
                <a:pos x="0" y="0"/>
              </a:cxn>
              <a:cxn ang="T2">
                <a:pos x="0" y="0"/>
              </a:cxn>
            </a:cxnLst>
            <a:rect l="0" t="0" r="r" b="b"/>
            <a:pathLst>
              <a:path>
                <a:moveTo>
                  <a:pt x="0" y="0"/>
                </a:moveTo>
                <a:cubicBezTo>
                  <a:pt x="0" y="0"/>
                  <a:pt x="0" y="0"/>
                  <a:pt x="0" y="0"/>
                </a:cubicBezTo>
                <a:cubicBezTo>
                  <a:pt x="0" y="0"/>
                  <a:pt x="0" y="0"/>
                  <a:pt x="0" y="0"/>
                </a:cubicBezTo>
                <a:close/>
              </a:path>
            </a:pathLst>
          </a:custGeom>
          <a:solidFill>
            <a:srgbClr val="FFFFFF"/>
          </a:solidFill>
          <a:ln w="9525">
            <a:noFill/>
            <a:round/>
            <a:headEnd/>
            <a:tailEnd/>
          </a:ln>
        </p:spPr>
        <p:txBody>
          <a:bodyPr lIns="102363" tIns="51178" rIns="102363" bIns="51178"/>
          <a:lstStyle/>
          <a:p>
            <a:endParaRPr lang="en-GB"/>
          </a:p>
        </p:txBody>
      </p:sp>
      <p:sp>
        <p:nvSpPr>
          <p:cNvPr id="9" name="Espace réservé du texte 8">
            <a:extLst>
              <a:ext uri="{FF2B5EF4-FFF2-40B4-BE49-F238E27FC236}">
                <a16:creationId xmlns:a16="http://schemas.microsoft.com/office/drawing/2014/main" id="{611DE428-05D4-42FE-B9C2-02D4220CDC4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777107" y="333451"/>
            <a:ext cx="1872207" cy="287337"/>
          </a:xfrm>
        </p:spPr>
        <p:txBody>
          <a:bodyPr anchor="b" anchorCtr="0"/>
          <a:lstStyle>
            <a:lvl1pPr>
              <a:defRPr sz="800">
                <a:solidFill>
                  <a:srgbClr val="07072B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fr-CA"/>
              <a:t>Graphique</a:t>
            </a:r>
          </a:p>
        </p:txBody>
      </p:sp>
      <p:sp>
        <p:nvSpPr>
          <p:cNvPr id="27" name="Espace réservé du numéro de diapositive 26">
            <a:extLst>
              <a:ext uri="{FF2B5EF4-FFF2-40B4-BE49-F238E27FC236}">
                <a16:creationId xmlns:a16="http://schemas.microsoft.com/office/drawing/2014/main" id="{2DEBE434-B189-41F7-9989-933C9601248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10752228" y="333451"/>
            <a:ext cx="539750" cy="335892"/>
          </a:xfrm>
          <a:prstGeom prst="rect">
            <a:avLst/>
          </a:prstGeom>
        </p:spPr>
        <p:txBody>
          <a:bodyPr lIns="91434" tIns="45717" rIns="91434" bIns="45717" anchor="b" anchorCtr="0"/>
          <a:lstStyle>
            <a:lvl1pPr>
              <a:defRPr sz="800">
                <a:solidFill>
                  <a:srgbClr val="222644"/>
                </a:solidFill>
                <a:latin typeface="Century Gothic" panose="020B0502020202020204" pitchFamily="34" charset="0"/>
              </a:defRPr>
            </a:lvl1pPr>
          </a:lstStyle>
          <a:p>
            <a:pPr algn="r">
              <a:defRPr/>
            </a:pPr>
            <a:fld id="{89AA4CF2-98ED-4480-867D-4533B78D23B5}" type="slidenum">
              <a:rPr lang="fr-CA" altLang="fr-FR" smtClean="0"/>
              <a:pPr algn="r">
                <a:defRPr/>
              </a:pPr>
              <a:t>‹#›</a:t>
            </a:fld>
            <a:endParaRPr lang="fr-CA" altLang="fr-FR"/>
          </a:p>
        </p:txBody>
      </p:sp>
      <p:pic>
        <p:nvPicPr>
          <p:cNvPr id="8" name="Image 7">
            <a:extLst>
              <a:ext uri="{FF2B5EF4-FFF2-40B4-BE49-F238E27FC236}">
                <a16:creationId xmlns:a16="http://schemas.microsoft.com/office/drawing/2014/main" id="{8F31C58B-8D94-4E6B-88CE-5D81F7F270D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1" b="21231"/>
          <a:stretch/>
        </p:blipFill>
        <p:spPr>
          <a:xfrm>
            <a:off x="985019" y="284895"/>
            <a:ext cx="432048" cy="264579"/>
          </a:xfrm>
          <a:prstGeom prst="rect">
            <a:avLst/>
          </a:prstGeom>
        </p:spPr>
      </p:pic>
      <p:sp>
        <p:nvSpPr>
          <p:cNvPr id="12" name="Espace réservé du contenu 16">
            <a:extLst>
              <a:ext uri="{FF2B5EF4-FFF2-40B4-BE49-F238E27FC236}">
                <a16:creationId xmlns:a16="http://schemas.microsoft.com/office/drawing/2014/main" id="{F9E433C0-A231-4AC8-B431-1E603782C983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877044" y="1054101"/>
            <a:ext cx="9469016" cy="1367581"/>
          </a:xfrm>
        </p:spPr>
        <p:txBody>
          <a:bodyPr anchor="t" anchorCtr="0"/>
          <a:lstStyle>
            <a:lvl1pPr algn="l">
              <a:defRPr sz="4000">
                <a:solidFill>
                  <a:srgbClr val="07072B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fr-CA"/>
              <a:t>Page texte avec long titre et photo </a:t>
            </a:r>
            <a:r>
              <a:rPr lang="fr-CA" err="1"/>
              <a:t>lorem</a:t>
            </a:r>
            <a:r>
              <a:rPr lang="fr-CA"/>
              <a:t> </a:t>
            </a:r>
            <a:r>
              <a:rPr lang="fr-CA" err="1"/>
              <a:t>ipsum</a:t>
            </a:r>
            <a:r>
              <a:rPr lang="fr-CA"/>
              <a:t> </a:t>
            </a:r>
            <a:r>
              <a:rPr lang="fr-CA" err="1"/>
              <a:t>dolor</a:t>
            </a:r>
            <a:r>
              <a:rPr lang="fr-CA"/>
              <a:t> </a:t>
            </a:r>
            <a:r>
              <a:rPr lang="fr-CA" err="1"/>
              <a:t>sit</a:t>
            </a:r>
            <a:r>
              <a:rPr lang="fr-CA"/>
              <a:t> </a:t>
            </a:r>
            <a:r>
              <a:rPr lang="fr-CA" err="1"/>
              <a:t>amet</a:t>
            </a:r>
            <a:r>
              <a:rPr lang="fr-CA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4040499758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ge graphique - fond blanc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Objet 3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589" y="1589"/>
            <a:ext cx="1587" cy="1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Freeform 5"/>
          <p:cNvSpPr>
            <a:spLocks/>
          </p:cNvSpPr>
          <p:nvPr userDrawn="1"/>
        </p:nvSpPr>
        <p:spPr bwMode="auto">
          <a:xfrm>
            <a:off x="4067175" y="2243138"/>
            <a:ext cx="0" cy="0"/>
          </a:xfrm>
          <a:custGeom>
            <a:avLst/>
            <a:gdLst>
              <a:gd name="T0" fmla="*/ 0 60000 65536"/>
              <a:gd name="T1" fmla="*/ 0 60000 65536"/>
              <a:gd name="T2" fmla="*/ 0 60000 65536"/>
            </a:gdLst>
            <a:ahLst/>
            <a:cxnLst>
              <a:cxn ang="T0">
                <a:pos x="0" y="0"/>
              </a:cxn>
              <a:cxn ang="T1">
                <a:pos x="0" y="0"/>
              </a:cxn>
              <a:cxn ang="T2">
                <a:pos x="0" y="0"/>
              </a:cxn>
            </a:cxnLst>
            <a:rect l="0" t="0" r="r" b="b"/>
            <a:pathLst>
              <a:path>
                <a:moveTo>
                  <a:pt x="0" y="0"/>
                </a:moveTo>
                <a:cubicBezTo>
                  <a:pt x="0" y="0"/>
                  <a:pt x="0" y="0"/>
                  <a:pt x="0" y="0"/>
                </a:cubicBezTo>
                <a:cubicBezTo>
                  <a:pt x="0" y="0"/>
                  <a:pt x="0" y="0"/>
                  <a:pt x="0" y="0"/>
                </a:cubicBezTo>
                <a:close/>
              </a:path>
            </a:pathLst>
          </a:custGeom>
          <a:solidFill>
            <a:srgbClr val="FFFFFF"/>
          </a:solidFill>
          <a:ln w="9525">
            <a:noFill/>
            <a:round/>
            <a:headEnd/>
            <a:tailEnd/>
          </a:ln>
        </p:spPr>
        <p:txBody>
          <a:bodyPr lIns="102360" tIns="51177" rIns="102360" bIns="51177"/>
          <a:lstStyle/>
          <a:p>
            <a:endParaRPr lang="en-GB" sz="2399"/>
          </a:p>
        </p:txBody>
      </p:sp>
      <p:sp>
        <p:nvSpPr>
          <p:cNvPr id="11" name="Freeform 6"/>
          <p:cNvSpPr>
            <a:spLocks/>
          </p:cNvSpPr>
          <p:nvPr userDrawn="1"/>
        </p:nvSpPr>
        <p:spPr bwMode="auto">
          <a:xfrm>
            <a:off x="4032250" y="1962150"/>
            <a:ext cx="0" cy="0"/>
          </a:xfrm>
          <a:custGeom>
            <a:avLst/>
            <a:gdLst>
              <a:gd name="T0" fmla="*/ 0 60000 65536"/>
              <a:gd name="T1" fmla="*/ 0 60000 65536"/>
              <a:gd name="T2" fmla="*/ 0 60000 65536"/>
            </a:gdLst>
            <a:ahLst/>
            <a:cxnLst>
              <a:cxn ang="T0">
                <a:pos x="0" y="0"/>
              </a:cxn>
              <a:cxn ang="T1">
                <a:pos x="0" y="0"/>
              </a:cxn>
              <a:cxn ang="T2">
                <a:pos x="0" y="0"/>
              </a:cxn>
            </a:cxnLst>
            <a:rect l="0" t="0" r="r" b="b"/>
            <a:pathLst>
              <a:path>
                <a:moveTo>
                  <a:pt x="0" y="0"/>
                </a:moveTo>
                <a:cubicBezTo>
                  <a:pt x="0" y="0"/>
                  <a:pt x="0" y="0"/>
                  <a:pt x="0" y="0"/>
                </a:cubicBezTo>
                <a:cubicBezTo>
                  <a:pt x="0" y="0"/>
                  <a:pt x="0" y="0"/>
                  <a:pt x="0" y="0"/>
                </a:cubicBezTo>
                <a:close/>
              </a:path>
            </a:pathLst>
          </a:custGeom>
          <a:solidFill>
            <a:srgbClr val="FFFFFF"/>
          </a:solidFill>
          <a:ln w="9525">
            <a:noFill/>
            <a:round/>
            <a:headEnd/>
            <a:tailEnd/>
          </a:ln>
        </p:spPr>
        <p:txBody>
          <a:bodyPr lIns="102360" tIns="51177" rIns="102360" bIns="51177"/>
          <a:lstStyle/>
          <a:p>
            <a:endParaRPr lang="en-GB" sz="2399"/>
          </a:p>
        </p:txBody>
      </p:sp>
      <p:sp>
        <p:nvSpPr>
          <p:cNvPr id="9" name="Espace réservé du texte 8">
            <a:extLst>
              <a:ext uri="{FF2B5EF4-FFF2-40B4-BE49-F238E27FC236}">
                <a16:creationId xmlns:a16="http://schemas.microsoft.com/office/drawing/2014/main" id="{611DE428-05D4-42FE-B9C2-02D4220CDC4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777108" y="333452"/>
            <a:ext cx="1872207" cy="287337"/>
          </a:xfrm>
        </p:spPr>
        <p:txBody>
          <a:bodyPr anchor="b" anchorCtr="0"/>
          <a:lstStyle>
            <a:lvl1pPr>
              <a:defRPr sz="800">
                <a:solidFill>
                  <a:srgbClr val="07072B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fr-CA"/>
              <a:t>Graphique</a:t>
            </a:r>
          </a:p>
        </p:txBody>
      </p:sp>
      <p:sp>
        <p:nvSpPr>
          <p:cNvPr id="27" name="Espace réservé du numéro de diapositive 26">
            <a:extLst>
              <a:ext uri="{FF2B5EF4-FFF2-40B4-BE49-F238E27FC236}">
                <a16:creationId xmlns:a16="http://schemas.microsoft.com/office/drawing/2014/main" id="{2DEBE434-B189-41F7-9989-933C9601248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10752229" y="333451"/>
            <a:ext cx="539750" cy="335892"/>
          </a:xfrm>
          <a:prstGeom prst="rect">
            <a:avLst/>
          </a:prstGeom>
        </p:spPr>
        <p:txBody>
          <a:bodyPr lIns="91434" tIns="45717" rIns="91434" bIns="45717" anchor="b" anchorCtr="0"/>
          <a:lstStyle>
            <a:lvl1pPr>
              <a:defRPr sz="800">
                <a:solidFill>
                  <a:srgbClr val="222644"/>
                </a:solidFill>
                <a:latin typeface="Century Gothic" panose="020B0502020202020204" pitchFamily="34" charset="0"/>
              </a:defRPr>
            </a:lvl1pPr>
          </a:lstStyle>
          <a:p>
            <a:pPr algn="r">
              <a:defRPr/>
            </a:pPr>
            <a:fld id="{89AA4CF2-98ED-4480-867D-4533B78D23B5}" type="slidenum">
              <a:rPr lang="fr-CA" altLang="fr-FR" smtClean="0"/>
              <a:pPr algn="r">
                <a:defRPr/>
              </a:pPr>
              <a:t>‹#›</a:t>
            </a:fld>
            <a:endParaRPr lang="fr-CA" altLang="fr-FR"/>
          </a:p>
        </p:txBody>
      </p:sp>
      <p:pic>
        <p:nvPicPr>
          <p:cNvPr id="8" name="Image 7">
            <a:extLst>
              <a:ext uri="{FF2B5EF4-FFF2-40B4-BE49-F238E27FC236}">
                <a16:creationId xmlns:a16="http://schemas.microsoft.com/office/drawing/2014/main" id="{8F31C58B-8D94-4E6B-88CE-5D81F7F270D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1" b="21231"/>
          <a:stretch/>
        </p:blipFill>
        <p:spPr>
          <a:xfrm>
            <a:off x="985019" y="284895"/>
            <a:ext cx="432048" cy="264579"/>
          </a:xfrm>
          <a:prstGeom prst="rect">
            <a:avLst/>
          </a:prstGeom>
        </p:spPr>
      </p:pic>
      <p:sp>
        <p:nvSpPr>
          <p:cNvPr id="12" name="Espace réservé du contenu 16">
            <a:extLst>
              <a:ext uri="{FF2B5EF4-FFF2-40B4-BE49-F238E27FC236}">
                <a16:creationId xmlns:a16="http://schemas.microsoft.com/office/drawing/2014/main" id="{F9E433C0-A231-4AC8-B431-1E603782C983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877045" y="1054102"/>
            <a:ext cx="9469016" cy="1367581"/>
          </a:xfrm>
        </p:spPr>
        <p:txBody>
          <a:bodyPr anchor="t" anchorCtr="0"/>
          <a:lstStyle>
            <a:lvl1pPr algn="l">
              <a:defRPr sz="4000">
                <a:solidFill>
                  <a:srgbClr val="07072B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fr-CA"/>
              <a:t>Page texte avec long titre et photo </a:t>
            </a:r>
            <a:r>
              <a:rPr lang="fr-CA" err="1"/>
              <a:t>lorem</a:t>
            </a:r>
            <a:r>
              <a:rPr lang="fr-CA"/>
              <a:t> </a:t>
            </a:r>
            <a:r>
              <a:rPr lang="fr-CA" err="1"/>
              <a:t>ipsum</a:t>
            </a:r>
            <a:r>
              <a:rPr lang="fr-CA"/>
              <a:t> </a:t>
            </a:r>
            <a:r>
              <a:rPr lang="fr-CA" err="1"/>
              <a:t>dolor</a:t>
            </a:r>
            <a:r>
              <a:rPr lang="fr-CA"/>
              <a:t> </a:t>
            </a:r>
            <a:r>
              <a:rPr lang="fr-CA" err="1"/>
              <a:t>sit</a:t>
            </a:r>
            <a:r>
              <a:rPr lang="fr-CA"/>
              <a:t> </a:t>
            </a:r>
            <a:r>
              <a:rPr lang="fr-CA" err="1"/>
              <a:t>amet</a:t>
            </a:r>
            <a:r>
              <a:rPr lang="fr-CA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404049975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ge section A">
    <p:bg>
      <p:bgPr>
        <a:gradFill>
          <a:gsLst>
            <a:gs pos="0">
              <a:srgbClr val="F6F7FB"/>
            </a:gs>
            <a:gs pos="100000">
              <a:srgbClr val="B1BFD3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Objet 3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588" y="1588"/>
            <a:ext cx="1587" cy="1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Freeform 5"/>
          <p:cNvSpPr>
            <a:spLocks/>
          </p:cNvSpPr>
          <p:nvPr userDrawn="1"/>
        </p:nvSpPr>
        <p:spPr bwMode="auto">
          <a:xfrm>
            <a:off x="4067175" y="2243138"/>
            <a:ext cx="0" cy="0"/>
          </a:xfrm>
          <a:custGeom>
            <a:avLst/>
            <a:gdLst>
              <a:gd name="T0" fmla="*/ 0 60000 65536"/>
              <a:gd name="T1" fmla="*/ 0 60000 65536"/>
              <a:gd name="T2" fmla="*/ 0 60000 65536"/>
            </a:gdLst>
            <a:ahLst/>
            <a:cxnLst>
              <a:cxn ang="T0">
                <a:pos x="0" y="0"/>
              </a:cxn>
              <a:cxn ang="T1">
                <a:pos x="0" y="0"/>
              </a:cxn>
              <a:cxn ang="T2">
                <a:pos x="0" y="0"/>
              </a:cxn>
            </a:cxnLst>
            <a:rect l="0" t="0" r="r" b="b"/>
            <a:pathLst>
              <a:path>
                <a:moveTo>
                  <a:pt x="0" y="0"/>
                </a:moveTo>
                <a:cubicBezTo>
                  <a:pt x="0" y="0"/>
                  <a:pt x="0" y="0"/>
                  <a:pt x="0" y="0"/>
                </a:cubicBezTo>
                <a:cubicBezTo>
                  <a:pt x="0" y="0"/>
                  <a:pt x="0" y="0"/>
                  <a:pt x="0" y="0"/>
                </a:cubicBezTo>
                <a:close/>
              </a:path>
            </a:pathLst>
          </a:custGeom>
          <a:solidFill>
            <a:srgbClr val="FFFFFF"/>
          </a:solidFill>
          <a:ln w="9525">
            <a:noFill/>
            <a:round/>
            <a:headEnd/>
            <a:tailEnd/>
          </a:ln>
        </p:spPr>
        <p:txBody>
          <a:bodyPr lIns="102363" tIns="51178" rIns="102363" bIns="51178"/>
          <a:lstStyle/>
          <a:p>
            <a:endParaRPr lang="en-GB" dirty="0"/>
          </a:p>
        </p:txBody>
      </p:sp>
      <p:sp>
        <p:nvSpPr>
          <p:cNvPr id="11" name="Freeform 6"/>
          <p:cNvSpPr>
            <a:spLocks/>
          </p:cNvSpPr>
          <p:nvPr userDrawn="1"/>
        </p:nvSpPr>
        <p:spPr bwMode="auto">
          <a:xfrm>
            <a:off x="4032250" y="1962150"/>
            <a:ext cx="0" cy="0"/>
          </a:xfrm>
          <a:custGeom>
            <a:avLst/>
            <a:gdLst>
              <a:gd name="T0" fmla="*/ 0 60000 65536"/>
              <a:gd name="T1" fmla="*/ 0 60000 65536"/>
              <a:gd name="T2" fmla="*/ 0 60000 65536"/>
            </a:gdLst>
            <a:ahLst/>
            <a:cxnLst>
              <a:cxn ang="T0">
                <a:pos x="0" y="0"/>
              </a:cxn>
              <a:cxn ang="T1">
                <a:pos x="0" y="0"/>
              </a:cxn>
              <a:cxn ang="T2">
                <a:pos x="0" y="0"/>
              </a:cxn>
            </a:cxnLst>
            <a:rect l="0" t="0" r="r" b="b"/>
            <a:pathLst>
              <a:path>
                <a:moveTo>
                  <a:pt x="0" y="0"/>
                </a:moveTo>
                <a:cubicBezTo>
                  <a:pt x="0" y="0"/>
                  <a:pt x="0" y="0"/>
                  <a:pt x="0" y="0"/>
                </a:cubicBezTo>
                <a:cubicBezTo>
                  <a:pt x="0" y="0"/>
                  <a:pt x="0" y="0"/>
                  <a:pt x="0" y="0"/>
                </a:cubicBezTo>
                <a:close/>
              </a:path>
            </a:pathLst>
          </a:custGeom>
          <a:solidFill>
            <a:srgbClr val="FFFFFF"/>
          </a:solidFill>
          <a:ln w="9525">
            <a:noFill/>
            <a:round/>
            <a:headEnd/>
            <a:tailEnd/>
          </a:ln>
        </p:spPr>
        <p:txBody>
          <a:bodyPr lIns="102363" tIns="51178" rIns="102363" bIns="51178"/>
          <a:lstStyle/>
          <a:p>
            <a:endParaRPr lang="en-GB" dirty="0"/>
          </a:p>
        </p:txBody>
      </p:sp>
      <p:sp>
        <p:nvSpPr>
          <p:cNvPr id="15" name="Espace réservé du contenu 14">
            <a:extLst>
              <a:ext uri="{FF2B5EF4-FFF2-40B4-BE49-F238E27FC236}">
                <a16:creationId xmlns:a16="http://schemas.microsoft.com/office/drawing/2014/main" id="{8E6D8F5F-AE41-47A6-B8D2-85F5131EBCE3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1812926" y="2854325"/>
            <a:ext cx="8569324" cy="2951163"/>
          </a:xfrm>
        </p:spPr>
        <p:txBody>
          <a:bodyPr/>
          <a:lstStyle>
            <a:lvl1pPr algn="ctr">
              <a:defRPr sz="4000">
                <a:solidFill>
                  <a:srgbClr val="7A96BA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da-DK" dirty="0"/>
              <a:t>Lorem ipsum dolor sit </a:t>
            </a:r>
          </a:p>
          <a:p>
            <a:pPr lvl="0"/>
            <a:r>
              <a:rPr lang="da-DK" dirty="0"/>
              <a:t>lorem ipsum dolor sit amet.</a:t>
            </a:r>
            <a:endParaRPr lang="fr-CA" dirty="0"/>
          </a:p>
        </p:txBody>
      </p:sp>
      <p:sp>
        <p:nvSpPr>
          <p:cNvPr id="17" name="Espace réservé du contenu 16">
            <a:extLst>
              <a:ext uri="{FF2B5EF4-FFF2-40B4-BE49-F238E27FC236}">
                <a16:creationId xmlns:a16="http://schemas.microsoft.com/office/drawing/2014/main" id="{06E14FE5-B3E7-415C-ABAD-0A0FB498390E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5160964" y="2133601"/>
            <a:ext cx="1800225" cy="720726"/>
          </a:xfrm>
        </p:spPr>
        <p:txBody>
          <a:bodyPr anchor="b" anchorCtr="0"/>
          <a:lstStyle>
            <a:lvl1pPr algn="ctr">
              <a:defRPr sz="1700">
                <a:solidFill>
                  <a:srgbClr val="7A96BA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fr-FR" dirty="0"/>
              <a:t>Section A</a:t>
            </a:r>
            <a:endParaRPr lang="fr-CA" dirty="0"/>
          </a:p>
        </p:txBody>
      </p:sp>
      <p:sp>
        <p:nvSpPr>
          <p:cNvPr id="27" name="Espace réservé du numéro de diapositive 26">
            <a:extLst>
              <a:ext uri="{FF2B5EF4-FFF2-40B4-BE49-F238E27FC236}">
                <a16:creationId xmlns:a16="http://schemas.microsoft.com/office/drawing/2014/main" id="{2DEBE434-B189-41F7-9989-933C9601248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11578778" y="6454130"/>
            <a:ext cx="539750" cy="335892"/>
          </a:xfrm>
          <a:prstGeom prst="rect">
            <a:avLst/>
          </a:prstGeom>
        </p:spPr>
        <p:txBody>
          <a:bodyPr lIns="91434" tIns="45717" rIns="91434" bIns="45717" anchor="b" anchorCtr="0"/>
          <a:lstStyle>
            <a:lvl1pPr>
              <a:defRPr sz="800">
                <a:solidFill>
                  <a:srgbClr val="07072B"/>
                </a:solidFill>
                <a:latin typeface="Century Gothic" panose="020B0502020202020204" pitchFamily="34" charset="0"/>
              </a:defRPr>
            </a:lvl1pPr>
          </a:lstStyle>
          <a:p>
            <a:pPr algn="r">
              <a:defRPr/>
            </a:pPr>
            <a:fld id="{89AA4CF2-98ED-4480-867D-4533B78D23B5}" type="slidenum">
              <a:rPr lang="fr-CA" altLang="fr-FR" smtClean="0"/>
              <a:pPr algn="r">
                <a:defRPr/>
              </a:pPr>
              <a:t>‹#›</a:t>
            </a:fld>
            <a:endParaRPr lang="fr-CA" altLang="fr-FR" dirty="0"/>
          </a:p>
        </p:txBody>
      </p:sp>
      <p:sp>
        <p:nvSpPr>
          <p:cNvPr id="28" name="Espace réservé du numéro de diapositive 2">
            <a:extLst>
              <a:ext uri="{FF2B5EF4-FFF2-40B4-BE49-F238E27FC236}">
                <a16:creationId xmlns:a16="http://schemas.microsoft.com/office/drawing/2014/main" id="{E2BDDB7F-3333-473B-98EA-3CB197EAF1F5}"/>
              </a:ext>
            </a:extLst>
          </p:cNvPr>
          <p:cNvSpPr txBox="1">
            <a:spLocks/>
          </p:cNvSpPr>
          <p:nvPr userDrawn="1"/>
        </p:nvSpPr>
        <p:spPr>
          <a:xfrm>
            <a:off x="616397" y="6510338"/>
            <a:ext cx="539750" cy="363537"/>
          </a:xfrm>
          <a:prstGeom prst="rect">
            <a:avLst/>
          </a:prstGeom>
        </p:spPr>
        <p:txBody>
          <a:bodyPr vert="horz" wrap="square" lIns="120902" tIns="60451" rIns="120902" bIns="60451" numCol="1" anchor="ctr" anchorCtr="0" compatLnSpc="1">
            <a:prstTxWarp prst="textNoShape">
              <a:avLst/>
            </a:prstTxWarp>
            <a:noAutofit/>
          </a:bodyPr>
          <a:lstStyle>
            <a:defPPr>
              <a:defRPr lang="fr-FR"/>
            </a:defPPr>
            <a:lvl1pPr algn="l" defTabSz="1217613" rtl="0" eaLnBrk="1" fontAlgn="base" hangingPunct="1">
              <a:spcBef>
                <a:spcPct val="0"/>
              </a:spcBef>
              <a:spcAft>
                <a:spcPct val="0"/>
              </a:spcAft>
              <a:defRPr sz="900" kern="1200" smtClean="0">
                <a:solidFill>
                  <a:schemeClr val="bg1">
                    <a:lumMod val="7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08013" indent="-150813" algn="l" defTabSz="1217613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2pPr>
            <a:lvl3pPr marL="1217613" indent="-303213" algn="l" defTabSz="1217613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3pPr>
            <a:lvl4pPr marL="1827213" indent="-455613" algn="l" defTabSz="1217613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4pPr>
            <a:lvl5pPr marL="2436813" indent="-608013" algn="l" defTabSz="1217613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9pPr>
          </a:lstStyle>
          <a:p>
            <a:pPr>
              <a:defRPr/>
            </a:pPr>
            <a:fld id="{5C78C233-16E4-40EE-8E77-456E7AF3EE9A}" type="slidenum">
              <a:rPr lang="fr-CA" altLang="fr-FR" smtClean="0"/>
              <a:pPr>
                <a:defRPr/>
              </a:pPr>
              <a:t>‹#›</a:t>
            </a:fld>
            <a:endParaRPr lang="fr-CA" altLang="fr-FR" dirty="0"/>
          </a:p>
        </p:txBody>
      </p:sp>
      <p:sp>
        <p:nvSpPr>
          <p:cNvPr id="13" name="Espace réservé du texte 8">
            <a:extLst>
              <a:ext uri="{FF2B5EF4-FFF2-40B4-BE49-F238E27FC236}">
                <a16:creationId xmlns:a16="http://schemas.microsoft.com/office/drawing/2014/main" id="{5E1C2E23-A3BC-4E3D-8A35-F851AD8E643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92931" y="237296"/>
            <a:ext cx="7488832" cy="432047"/>
          </a:xfrm>
        </p:spPr>
        <p:txBody>
          <a:bodyPr anchor="b" anchorCtr="0"/>
          <a:lstStyle>
            <a:lvl1pPr>
              <a:defRPr sz="2400">
                <a:solidFill>
                  <a:srgbClr val="07072B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fr-CA" dirty="0"/>
              <a:t>Titre de slide</a:t>
            </a:r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age section B">
    <p:bg>
      <p:bgPr>
        <a:gradFill>
          <a:gsLst>
            <a:gs pos="0">
              <a:srgbClr val="E7D2CD"/>
            </a:gs>
            <a:gs pos="100000">
              <a:srgbClr val="D1A69D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Objet 3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588" y="1588"/>
            <a:ext cx="1587" cy="1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Freeform 5"/>
          <p:cNvSpPr>
            <a:spLocks/>
          </p:cNvSpPr>
          <p:nvPr userDrawn="1"/>
        </p:nvSpPr>
        <p:spPr bwMode="auto">
          <a:xfrm>
            <a:off x="4067175" y="2243138"/>
            <a:ext cx="0" cy="0"/>
          </a:xfrm>
          <a:custGeom>
            <a:avLst/>
            <a:gdLst>
              <a:gd name="T0" fmla="*/ 0 60000 65536"/>
              <a:gd name="T1" fmla="*/ 0 60000 65536"/>
              <a:gd name="T2" fmla="*/ 0 60000 65536"/>
            </a:gdLst>
            <a:ahLst/>
            <a:cxnLst>
              <a:cxn ang="T0">
                <a:pos x="0" y="0"/>
              </a:cxn>
              <a:cxn ang="T1">
                <a:pos x="0" y="0"/>
              </a:cxn>
              <a:cxn ang="T2">
                <a:pos x="0" y="0"/>
              </a:cxn>
            </a:cxnLst>
            <a:rect l="0" t="0" r="r" b="b"/>
            <a:pathLst>
              <a:path>
                <a:moveTo>
                  <a:pt x="0" y="0"/>
                </a:moveTo>
                <a:cubicBezTo>
                  <a:pt x="0" y="0"/>
                  <a:pt x="0" y="0"/>
                  <a:pt x="0" y="0"/>
                </a:cubicBezTo>
                <a:cubicBezTo>
                  <a:pt x="0" y="0"/>
                  <a:pt x="0" y="0"/>
                  <a:pt x="0" y="0"/>
                </a:cubicBezTo>
                <a:close/>
              </a:path>
            </a:pathLst>
          </a:custGeom>
          <a:solidFill>
            <a:srgbClr val="FFFFFF"/>
          </a:solidFill>
          <a:ln w="9525">
            <a:noFill/>
            <a:round/>
            <a:headEnd/>
            <a:tailEnd/>
          </a:ln>
        </p:spPr>
        <p:txBody>
          <a:bodyPr lIns="102363" tIns="51178" rIns="102363" bIns="51178"/>
          <a:lstStyle/>
          <a:p>
            <a:endParaRPr lang="en-GB" dirty="0"/>
          </a:p>
        </p:txBody>
      </p:sp>
      <p:sp>
        <p:nvSpPr>
          <p:cNvPr id="11" name="Freeform 6"/>
          <p:cNvSpPr>
            <a:spLocks/>
          </p:cNvSpPr>
          <p:nvPr userDrawn="1"/>
        </p:nvSpPr>
        <p:spPr bwMode="auto">
          <a:xfrm>
            <a:off x="4032250" y="1962150"/>
            <a:ext cx="0" cy="0"/>
          </a:xfrm>
          <a:custGeom>
            <a:avLst/>
            <a:gdLst>
              <a:gd name="T0" fmla="*/ 0 60000 65536"/>
              <a:gd name="T1" fmla="*/ 0 60000 65536"/>
              <a:gd name="T2" fmla="*/ 0 60000 65536"/>
            </a:gdLst>
            <a:ahLst/>
            <a:cxnLst>
              <a:cxn ang="T0">
                <a:pos x="0" y="0"/>
              </a:cxn>
              <a:cxn ang="T1">
                <a:pos x="0" y="0"/>
              </a:cxn>
              <a:cxn ang="T2">
                <a:pos x="0" y="0"/>
              </a:cxn>
            </a:cxnLst>
            <a:rect l="0" t="0" r="r" b="b"/>
            <a:pathLst>
              <a:path>
                <a:moveTo>
                  <a:pt x="0" y="0"/>
                </a:moveTo>
                <a:cubicBezTo>
                  <a:pt x="0" y="0"/>
                  <a:pt x="0" y="0"/>
                  <a:pt x="0" y="0"/>
                </a:cubicBezTo>
                <a:cubicBezTo>
                  <a:pt x="0" y="0"/>
                  <a:pt x="0" y="0"/>
                  <a:pt x="0" y="0"/>
                </a:cubicBezTo>
                <a:close/>
              </a:path>
            </a:pathLst>
          </a:custGeom>
          <a:solidFill>
            <a:srgbClr val="FFFFFF"/>
          </a:solidFill>
          <a:ln w="9525">
            <a:noFill/>
            <a:round/>
            <a:headEnd/>
            <a:tailEnd/>
          </a:ln>
        </p:spPr>
        <p:txBody>
          <a:bodyPr lIns="102363" tIns="51178" rIns="102363" bIns="51178"/>
          <a:lstStyle/>
          <a:p>
            <a:endParaRPr lang="en-GB" dirty="0"/>
          </a:p>
        </p:txBody>
      </p:sp>
      <p:sp>
        <p:nvSpPr>
          <p:cNvPr id="15" name="Espace réservé du contenu 14">
            <a:extLst>
              <a:ext uri="{FF2B5EF4-FFF2-40B4-BE49-F238E27FC236}">
                <a16:creationId xmlns:a16="http://schemas.microsoft.com/office/drawing/2014/main" id="{8E6D8F5F-AE41-47A6-B8D2-85F5131EBCE3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1812926" y="2854325"/>
            <a:ext cx="8569324" cy="2951163"/>
          </a:xfrm>
        </p:spPr>
        <p:txBody>
          <a:bodyPr/>
          <a:lstStyle>
            <a:lvl1pPr algn="ctr">
              <a:defRPr sz="4000">
                <a:solidFill>
                  <a:srgbClr val="07072B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da-DK" dirty="0"/>
              <a:t>Lorem ipsum dolor sit </a:t>
            </a:r>
          </a:p>
          <a:p>
            <a:pPr lvl="0"/>
            <a:r>
              <a:rPr lang="da-DK" dirty="0"/>
              <a:t>lorem ipsum dolor sit amet.</a:t>
            </a:r>
            <a:endParaRPr lang="fr-CA" dirty="0"/>
          </a:p>
        </p:txBody>
      </p:sp>
      <p:sp>
        <p:nvSpPr>
          <p:cNvPr id="17" name="Espace réservé du contenu 16">
            <a:extLst>
              <a:ext uri="{FF2B5EF4-FFF2-40B4-BE49-F238E27FC236}">
                <a16:creationId xmlns:a16="http://schemas.microsoft.com/office/drawing/2014/main" id="{06E14FE5-B3E7-415C-ABAD-0A0FB498390E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5160964" y="2133601"/>
            <a:ext cx="1800225" cy="720726"/>
          </a:xfrm>
        </p:spPr>
        <p:txBody>
          <a:bodyPr anchor="b" anchorCtr="0"/>
          <a:lstStyle>
            <a:lvl1pPr algn="ctr">
              <a:defRPr sz="1700">
                <a:solidFill>
                  <a:srgbClr val="07072B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fr-FR" dirty="0"/>
              <a:t>Section B</a:t>
            </a:r>
            <a:endParaRPr lang="fr-CA" dirty="0"/>
          </a:p>
        </p:txBody>
      </p:sp>
      <p:sp>
        <p:nvSpPr>
          <p:cNvPr id="27" name="Espace réservé du numéro de diapositive 26">
            <a:extLst>
              <a:ext uri="{FF2B5EF4-FFF2-40B4-BE49-F238E27FC236}">
                <a16:creationId xmlns:a16="http://schemas.microsoft.com/office/drawing/2014/main" id="{2DEBE434-B189-41F7-9989-933C9601248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11570195" y="6454130"/>
            <a:ext cx="539750" cy="335892"/>
          </a:xfrm>
          <a:prstGeom prst="rect">
            <a:avLst/>
          </a:prstGeom>
        </p:spPr>
        <p:txBody>
          <a:bodyPr lIns="91434" tIns="45717" rIns="91434" bIns="45717" anchor="b" anchorCtr="0"/>
          <a:lstStyle>
            <a:lvl1pPr>
              <a:defRPr sz="800">
                <a:solidFill>
                  <a:srgbClr val="222644"/>
                </a:solidFill>
                <a:latin typeface="Century Gothic" panose="020B0502020202020204" pitchFamily="34" charset="0"/>
              </a:defRPr>
            </a:lvl1pPr>
          </a:lstStyle>
          <a:p>
            <a:pPr algn="r">
              <a:defRPr/>
            </a:pPr>
            <a:fld id="{89AA4CF2-98ED-4480-867D-4533B78D23B5}" type="slidenum">
              <a:rPr lang="fr-CA" altLang="fr-FR" smtClean="0"/>
              <a:pPr algn="r">
                <a:defRPr/>
              </a:pPr>
              <a:t>‹#›</a:t>
            </a:fld>
            <a:endParaRPr lang="fr-CA" altLang="fr-FR" dirty="0"/>
          </a:p>
        </p:txBody>
      </p:sp>
      <p:sp>
        <p:nvSpPr>
          <p:cNvPr id="28" name="Espace réservé du numéro de diapositive 2">
            <a:extLst>
              <a:ext uri="{FF2B5EF4-FFF2-40B4-BE49-F238E27FC236}">
                <a16:creationId xmlns:a16="http://schemas.microsoft.com/office/drawing/2014/main" id="{E2BDDB7F-3333-473B-98EA-3CB197EAF1F5}"/>
              </a:ext>
            </a:extLst>
          </p:cNvPr>
          <p:cNvSpPr txBox="1">
            <a:spLocks/>
          </p:cNvSpPr>
          <p:nvPr userDrawn="1"/>
        </p:nvSpPr>
        <p:spPr>
          <a:xfrm>
            <a:off x="616397" y="6510338"/>
            <a:ext cx="539750" cy="363537"/>
          </a:xfrm>
          <a:prstGeom prst="rect">
            <a:avLst/>
          </a:prstGeom>
        </p:spPr>
        <p:txBody>
          <a:bodyPr vert="horz" wrap="square" lIns="120902" tIns="60451" rIns="120902" bIns="60451" numCol="1" anchor="ctr" anchorCtr="0" compatLnSpc="1">
            <a:prstTxWarp prst="textNoShape">
              <a:avLst/>
            </a:prstTxWarp>
            <a:noAutofit/>
          </a:bodyPr>
          <a:lstStyle>
            <a:defPPr>
              <a:defRPr lang="fr-FR"/>
            </a:defPPr>
            <a:lvl1pPr algn="l" defTabSz="1217613" rtl="0" eaLnBrk="1" fontAlgn="base" hangingPunct="1">
              <a:spcBef>
                <a:spcPct val="0"/>
              </a:spcBef>
              <a:spcAft>
                <a:spcPct val="0"/>
              </a:spcAft>
              <a:defRPr sz="900" kern="1200" smtClean="0">
                <a:solidFill>
                  <a:schemeClr val="bg1">
                    <a:lumMod val="7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08013" indent="-150813" algn="l" defTabSz="1217613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2pPr>
            <a:lvl3pPr marL="1217613" indent="-303213" algn="l" defTabSz="1217613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3pPr>
            <a:lvl4pPr marL="1827213" indent="-455613" algn="l" defTabSz="1217613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4pPr>
            <a:lvl5pPr marL="2436813" indent="-608013" algn="l" defTabSz="1217613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9pPr>
          </a:lstStyle>
          <a:p>
            <a:pPr>
              <a:defRPr/>
            </a:pPr>
            <a:fld id="{5C78C233-16E4-40EE-8E77-456E7AF3EE9A}" type="slidenum">
              <a:rPr lang="fr-CA" altLang="fr-FR" smtClean="0"/>
              <a:pPr>
                <a:defRPr/>
              </a:pPr>
              <a:t>‹#›</a:t>
            </a:fld>
            <a:endParaRPr lang="fr-CA" altLang="fr-FR" dirty="0"/>
          </a:p>
        </p:txBody>
      </p:sp>
      <p:sp>
        <p:nvSpPr>
          <p:cNvPr id="14" name="Espace réservé du texte 8">
            <a:extLst>
              <a:ext uri="{FF2B5EF4-FFF2-40B4-BE49-F238E27FC236}">
                <a16:creationId xmlns:a16="http://schemas.microsoft.com/office/drawing/2014/main" id="{B04FAD41-B16C-49BC-826A-19256D5AA83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92931" y="237296"/>
            <a:ext cx="7488832" cy="432047"/>
          </a:xfrm>
        </p:spPr>
        <p:txBody>
          <a:bodyPr anchor="b" anchorCtr="0"/>
          <a:lstStyle>
            <a:lvl1pPr>
              <a:defRPr sz="2400">
                <a:solidFill>
                  <a:srgbClr val="07072B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fr-CA" dirty="0"/>
              <a:t>Titre de slide</a:t>
            </a:r>
          </a:p>
        </p:txBody>
      </p:sp>
    </p:spTree>
    <p:extLst>
      <p:ext uri="{BB962C8B-B14F-4D97-AF65-F5344CB8AC3E}">
        <p14:creationId xmlns:p14="http://schemas.microsoft.com/office/powerpoint/2010/main" val="206590301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Page section C">
    <p:bg>
      <p:bgPr>
        <a:gradFill>
          <a:gsLst>
            <a:gs pos="0">
              <a:srgbClr val="076CA3"/>
            </a:gs>
            <a:gs pos="100000">
              <a:srgbClr val="07072B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Objet 3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588" y="1588"/>
            <a:ext cx="1587" cy="1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Freeform 5"/>
          <p:cNvSpPr>
            <a:spLocks/>
          </p:cNvSpPr>
          <p:nvPr userDrawn="1"/>
        </p:nvSpPr>
        <p:spPr bwMode="auto">
          <a:xfrm>
            <a:off x="4067175" y="2243138"/>
            <a:ext cx="0" cy="0"/>
          </a:xfrm>
          <a:custGeom>
            <a:avLst/>
            <a:gdLst>
              <a:gd name="T0" fmla="*/ 0 60000 65536"/>
              <a:gd name="T1" fmla="*/ 0 60000 65536"/>
              <a:gd name="T2" fmla="*/ 0 60000 65536"/>
            </a:gdLst>
            <a:ahLst/>
            <a:cxnLst>
              <a:cxn ang="T0">
                <a:pos x="0" y="0"/>
              </a:cxn>
              <a:cxn ang="T1">
                <a:pos x="0" y="0"/>
              </a:cxn>
              <a:cxn ang="T2">
                <a:pos x="0" y="0"/>
              </a:cxn>
            </a:cxnLst>
            <a:rect l="0" t="0" r="r" b="b"/>
            <a:pathLst>
              <a:path>
                <a:moveTo>
                  <a:pt x="0" y="0"/>
                </a:moveTo>
                <a:cubicBezTo>
                  <a:pt x="0" y="0"/>
                  <a:pt x="0" y="0"/>
                  <a:pt x="0" y="0"/>
                </a:cubicBezTo>
                <a:cubicBezTo>
                  <a:pt x="0" y="0"/>
                  <a:pt x="0" y="0"/>
                  <a:pt x="0" y="0"/>
                </a:cubicBezTo>
                <a:close/>
              </a:path>
            </a:pathLst>
          </a:custGeom>
          <a:solidFill>
            <a:srgbClr val="FFFFFF"/>
          </a:solidFill>
          <a:ln w="9525">
            <a:noFill/>
            <a:round/>
            <a:headEnd/>
            <a:tailEnd/>
          </a:ln>
        </p:spPr>
        <p:txBody>
          <a:bodyPr lIns="102363" tIns="51178" rIns="102363" bIns="51178"/>
          <a:lstStyle/>
          <a:p>
            <a:endParaRPr lang="en-GB" dirty="0"/>
          </a:p>
        </p:txBody>
      </p:sp>
      <p:sp>
        <p:nvSpPr>
          <p:cNvPr id="11" name="Freeform 6"/>
          <p:cNvSpPr>
            <a:spLocks/>
          </p:cNvSpPr>
          <p:nvPr userDrawn="1"/>
        </p:nvSpPr>
        <p:spPr bwMode="auto">
          <a:xfrm>
            <a:off x="4032250" y="1962150"/>
            <a:ext cx="0" cy="0"/>
          </a:xfrm>
          <a:custGeom>
            <a:avLst/>
            <a:gdLst>
              <a:gd name="T0" fmla="*/ 0 60000 65536"/>
              <a:gd name="T1" fmla="*/ 0 60000 65536"/>
              <a:gd name="T2" fmla="*/ 0 60000 65536"/>
            </a:gdLst>
            <a:ahLst/>
            <a:cxnLst>
              <a:cxn ang="T0">
                <a:pos x="0" y="0"/>
              </a:cxn>
              <a:cxn ang="T1">
                <a:pos x="0" y="0"/>
              </a:cxn>
              <a:cxn ang="T2">
                <a:pos x="0" y="0"/>
              </a:cxn>
            </a:cxnLst>
            <a:rect l="0" t="0" r="r" b="b"/>
            <a:pathLst>
              <a:path>
                <a:moveTo>
                  <a:pt x="0" y="0"/>
                </a:moveTo>
                <a:cubicBezTo>
                  <a:pt x="0" y="0"/>
                  <a:pt x="0" y="0"/>
                  <a:pt x="0" y="0"/>
                </a:cubicBezTo>
                <a:cubicBezTo>
                  <a:pt x="0" y="0"/>
                  <a:pt x="0" y="0"/>
                  <a:pt x="0" y="0"/>
                </a:cubicBezTo>
                <a:close/>
              </a:path>
            </a:pathLst>
          </a:custGeom>
          <a:solidFill>
            <a:srgbClr val="FFFFFF"/>
          </a:solidFill>
          <a:ln w="9525">
            <a:noFill/>
            <a:round/>
            <a:headEnd/>
            <a:tailEnd/>
          </a:ln>
        </p:spPr>
        <p:txBody>
          <a:bodyPr lIns="102363" tIns="51178" rIns="102363" bIns="51178"/>
          <a:lstStyle/>
          <a:p>
            <a:endParaRPr lang="en-GB" dirty="0"/>
          </a:p>
        </p:txBody>
      </p:sp>
      <p:sp>
        <p:nvSpPr>
          <p:cNvPr id="15" name="Espace réservé du contenu 14">
            <a:extLst>
              <a:ext uri="{FF2B5EF4-FFF2-40B4-BE49-F238E27FC236}">
                <a16:creationId xmlns:a16="http://schemas.microsoft.com/office/drawing/2014/main" id="{8E6D8F5F-AE41-47A6-B8D2-85F5131EBCE3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1812926" y="2854325"/>
            <a:ext cx="8569324" cy="2951163"/>
          </a:xfrm>
        </p:spPr>
        <p:txBody>
          <a:bodyPr/>
          <a:lstStyle>
            <a:lvl1pPr algn="ctr">
              <a:defRPr sz="4000">
                <a:solidFill>
                  <a:srgbClr val="B1BFD3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da-DK" dirty="0"/>
              <a:t>Lorem ipsum dolor sit </a:t>
            </a:r>
          </a:p>
          <a:p>
            <a:pPr lvl="0"/>
            <a:r>
              <a:rPr lang="da-DK" dirty="0"/>
              <a:t>lorem ipsum dolor sit amet.</a:t>
            </a:r>
            <a:endParaRPr lang="fr-CA" dirty="0"/>
          </a:p>
        </p:txBody>
      </p:sp>
      <p:sp>
        <p:nvSpPr>
          <p:cNvPr id="17" name="Espace réservé du contenu 16">
            <a:extLst>
              <a:ext uri="{FF2B5EF4-FFF2-40B4-BE49-F238E27FC236}">
                <a16:creationId xmlns:a16="http://schemas.microsoft.com/office/drawing/2014/main" id="{06E14FE5-B3E7-415C-ABAD-0A0FB498390E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5160964" y="2133601"/>
            <a:ext cx="1800225" cy="720726"/>
          </a:xfrm>
        </p:spPr>
        <p:txBody>
          <a:bodyPr anchor="b" anchorCtr="0"/>
          <a:lstStyle>
            <a:lvl1pPr algn="ctr">
              <a:defRPr sz="1700">
                <a:solidFill>
                  <a:srgbClr val="B1BFD3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fr-FR" dirty="0"/>
              <a:t>Section C</a:t>
            </a:r>
            <a:endParaRPr lang="fr-CA" dirty="0"/>
          </a:p>
        </p:txBody>
      </p:sp>
      <p:sp>
        <p:nvSpPr>
          <p:cNvPr id="27" name="Espace réservé du numéro de diapositive 26">
            <a:extLst>
              <a:ext uri="{FF2B5EF4-FFF2-40B4-BE49-F238E27FC236}">
                <a16:creationId xmlns:a16="http://schemas.microsoft.com/office/drawing/2014/main" id="{2DEBE434-B189-41F7-9989-933C9601248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11570195" y="6454130"/>
            <a:ext cx="539750" cy="335892"/>
          </a:xfrm>
          <a:prstGeom prst="rect">
            <a:avLst/>
          </a:prstGeom>
        </p:spPr>
        <p:txBody>
          <a:bodyPr lIns="91434" tIns="45717" rIns="91434" bIns="45717" anchor="b" anchorCtr="0"/>
          <a:lstStyle>
            <a:lvl1pPr>
              <a:defRPr sz="800">
                <a:solidFill>
                  <a:srgbClr val="B1BFD3"/>
                </a:solidFill>
                <a:latin typeface="Century Gothic" panose="020B0502020202020204" pitchFamily="34" charset="0"/>
              </a:defRPr>
            </a:lvl1pPr>
          </a:lstStyle>
          <a:p>
            <a:pPr algn="r">
              <a:defRPr/>
            </a:pPr>
            <a:fld id="{89AA4CF2-98ED-4480-867D-4533B78D23B5}" type="slidenum">
              <a:rPr lang="fr-CA" altLang="fr-FR" smtClean="0"/>
              <a:pPr algn="r">
                <a:defRPr/>
              </a:pPr>
              <a:t>‹#›</a:t>
            </a:fld>
            <a:endParaRPr lang="fr-CA" altLang="fr-FR" dirty="0"/>
          </a:p>
        </p:txBody>
      </p:sp>
      <p:sp>
        <p:nvSpPr>
          <p:cNvPr id="13" name="Espace réservé du texte 8">
            <a:extLst>
              <a:ext uri="{FF2B5EF4-FFF2-40B4-BE49-F238E27FC236}">
                <a16:creationId xmlns:a16="http://schemas.microsoft.com/office/drawing/2014/main" id="{C9DFA443-1C4C-414A-AC7F-5279E30665E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92931" y="237296"/>
            <a:ext cx="7488832" cy="432047"/>
          </a:xfrm>
        </p:spPr>
        <p:txBody>
          <a:bodyPr anchor="b" anchorCtr="0"/>
          <a:lstStyle>
            <a:lvl1pPr>
              <a:defRPr sz="2400">
                <a:solidFill>
                  <a:srgbClr val="B3C3D8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fr-CA" dirty="0"/>
              <a:t>Titre de slide</a:t>
            </a:r>
          </a:p>
        </p:txBody>
      </p:sp>
    </p:spTree>
    <p:extLst>
      <p:ext uri="{BB962C8B-B14F-4D97-AF65-F5344CB8AC3E}">
        <p14:creationId xmlns:p14="http://schemas.microsoft.com/office/powerpoint/2010/main" val="427626580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age section D">
    <p:bg>
      <p:bgPr>
        <a:gradFill>
          <a:gsLst>
            <a:gs pos="0">
              <a:srgbClr val="B1BFD3"/>
            </a:gs>
            <a:gs pos="100000">
              <a:srgbClr val="F6F7FB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Objet 3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588" y="1588"/>
            <a:ext cx="1587" cy="1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Freeform 5"/>
          <p:cNvSpPr>
            <a:spLocks/>
          </p:cNvSpPr>
          <p:nvPr userDrawn="1"/>
        </p:nvSpPr>
        <p:spPr bwMode="auto">
          <a:xfrm>
            <a:off x="4067175" y="2243138"/>
            <a:ext cx="0" cy="0"/>
          </a:xfrm>
          <a:custGeom>
            <a:avLst/>
            <a:gdLst>
              <a:gd name="T0" fmla="*/ 0 60000 65536"/>
              <a:gd name="T1" fmla="*/ 0 60000 65536"/>
              <a:gd name="T2" fmla="*/ 0 60000 65536"/>
            </a:gdLst>
            <a:ahLst/>
            <a:cxnLst>
              <a:cxn ang="T0">
                <a:pos x="0" y="0"/>
              </a:cxn>
              <a:cxn ang="T1">
                <a:pos x="0" y="0"/>
              </a:cxn>
              <a:cxn ang="T2">
                <a:pos x="0" y="0"/>
              </a:cxn>
            </a:cxnLst>
            <a:rect l="0" t="0" r="r" b="b"/>
            <a:pathLst>
              <a:path>
                <a:moveTo>
                  <a:pt x="0" y="0"/>
                </a:moveTo>
                <a:cubicBezTo>
                  <a:pt x="0" y="0"/>
                  <a:pt x="0" y="0"/>
                  <a:pt x="0" y="0"/>
                </a:cubicBezTo>
                <a:cubicBezTo>
                  <a:pt x="0" y="0"/>
                  <a:pt x="0" y="0"/>
                  <a:pt x="0" y="0"/>
                </a:cubicBezTo>
                <a:close/>
              </a:path>
            </a:pathLst>
          </a:custGeom>
          <a:solidFill>
            <a:srgbClr val="FFFFFF"/>
          </a:solidFill>
          <a:ln w="9525">
            <a:noFill/>
            <a:round/>
            <a:headEnd/>
            <a:tailEnd/>
          </a:ln>
        </p:spPr>
        <p:txBody>
          <a:bodyPr lIns="102363" tIns="51178" rIns="102363" bIns="51178"/>
          <a:lstStyle/>
          <a:p>
            <a:endParaRPr lang="en-GB" dirty="0"/>
          </a:p>
        </p:txBody>
      </p:sp>
      <p:sp>
        <p:nvSpPr>
          <p:cNvPr id="11" name="Freeform 6"/>
          <p:cNvSpPr>
            <a:spLocks/>
          </p:cNvSpPr>
          <p:nvPr userDrawn="1"/>
        </p:nvSpPr>
        <p:spPr bwMode="auto">
          <a:xfrm>
            <a:off x="4032250" y="1962150"/>
            <a:ext cx="0" cy="0"/>
          </a:xfrm>
          <a:custGeom>
            <a:avLst/>
            <a:gdLst>
              <a:gd name="T0" fmla="*/ 0 60000 65536"/>
              <a:gd name="T1" fmla="*/ 0 60000 65536"/>
              <a:gd name="T2" fmla="*/ 0 60000 65536"/>
            </a:gdLst>
            <a:ahLst/>
            <a:cxnLst>
              <a:cxn ang="T0">
                <a:pos x="0" y="0"/>
              </a:cxn>
              <a:cxn ang="T1">
                <a:pos x="0" y="0"/>
              </a:cxn>
              <a:cxn ang="T2">
                <a:pos x="0" y="0"/>
              </a:cxn>
            </a:cxnLst>
            <a:rect l="0" t="0" r="r" b="b"/>
            <a:pathLst>
              <a:path>
                <a:moveTo>
                  <a:pt x="0" y="0"/>
                </a:moveTo>
                <a:cubicBezTo>
                  <a:pt x="0" y="0"/>
                  <a:pt x="0" y="0"/>
                  <a:pt x="0" y="0"/>
                </a:cubicBezTo>
                <a:cubicBezTo>
                  <a:pt x="0" y="0"/>
                  <a:pt x="0" y="0"/>
                  <a:pt x="0" y="0"/>
                </a:cubicBezTo>
                <a:close/>
              </a:path>
            </a:pathLst>
          </a:custGeom>
          <a:solidFill>
            <a:srgbClr val="FFFFFF"/>
          </a:solidFill>
          <a:ln w="9525">
            <a:noFill/>
            <a:round/>
            <a:headEnd/>
            <a:tailEnd/>
          </a:ln>
        </p:spPr>
        <p:txBody>
          <a:bodyPr lIns="102363" tIns="51178" rIns="102363" bIns="51178"/>
          <a:lstStyle/>
          <a:p>
            <a:endParaRPr lang="en-GB" dirty="0"/>
          </a:p>
        </p:txBody>
      </p:sp>
      <p:sp>
        <p:nvSpPr>
          <p:cNvPr id="15" name="Espace réservé du contenu 14">
            <a:extLst>
              <a:ext uri="{FF2B5EF4-FFF2-40B4-BE49-F238E27FC236}">
                <a16:creationId xmlns:a16="http://schemas.microsoft.com/office/drawing/2014/main" id="{8E6D8F5F-AE41-47A6-B8D2-85F5131EBCE3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1812926" y="2854325"/>
            <a:ext cx="8569324" cy="2951163"/>
          </a:xfrm>
        </p:spPr>
        <p:txBody>
          <a:bodyPr/>
          <a:lstStyle>
            <a:lvl1pPr algn="ctr">
              <a:defRPr sz="4000">
                <a:solidFill>
                  <a:srgbClr val="07072B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da-DK" dirty="0"/>
              <a:t>Lorem ipsum dolor sit </a:t>
            </a:r>
          </a:p>
          <a:p>
            <a:pPr lvl="0"/>
            <a:r>
              <a:rPr lang="da-DK" dirty="0"/>
              <a:t>lorem ipsum dolor sit amet.</a:t>
            </a:r>
            <a:endParaRPr lang="fr-CA" dirty="0"/>
          </a:p>
        </p:txBody>
      </p:sp>
      <p:sp>
        <p:nvSpPr>
          <p:cNvPr id="17" name="Espace réservé du contenu 16">
            <a:extLst>
              <a:ext uri="{FF2B5EF4-FFF2-40B4-BE49-F238E27FC236}">
                <a16:creationId xmlns:a16="http://schemas.microsoft.com/office/drawing/2014/main" id="{06E14FE5-B3E7-415C-ABAD-0A0FB498390E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5160964" y="2133601"/>
            <a:ext cx="1800225" cy="720726"/>
          </a:xfrm>
        </p:spPr>
        <p:txBody>
          <a:bodyPr anchor="b" anchorCtr="0"/>
          <a:lstStyle>
            <a:lvl1pPr algn="ctr">
              <a:defRPr sz="1700">
                <a:solidFill>
                  <a:srgbClr val="07072B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fr-FR" dirty="0"/>
              <a:t>Section D</a:t>
            </a:r>
            <a:endParaRPr lang="fr-CA" dirty="0"/>
          </a:p>
        </p:txBody>
      </p:sp>
      <p:sp>
        <p:nvSpPr>
          <p:cNvPr id="27" name="Espace réservé du numéro de diapositive 26">
            <a:extLst>
              <a:ext uri="{FF2B5EF4-FFF2-40B4-BE49-F238E27FC236}">
                <a16:creationId xmlns:a16="http://schemas.microsoft.com/office/drawing/2014/main" id="{2DEBE434-B189-41F7-9989-933C9601248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11570195" y="6454130"/>
            <a:ext cx="539750" cy="335892"/>
          </a:xfrm>
          <a:prstGeom prst="rect">
            <a:avLst/>
          </a:prstGeom>
        </p:spPr>
        <p:txBody>
          <a:bodyPr lIns="91434" tIns="45717" rIns="91434" bIns="45717" anchor="b" anchorCtr="0"/>
          <a:lstStyle>
            <a:lvl1pPr>
              <a:defRPr sz="800">
                <a:solidFill>
                  <a:srgbClr val="07072B"/>
                </a:solidFill>
                <a:latin typeface="Century Gothic" panose="020B0502020202020204" pitchFamily="34" charset="0"/>
              </a:defRPr>
            </a:lvl1pPr>
          </a:lstStyle>
          <a:p>
            <a:pPr algn="r">
              <a:defRPr/>
            </a:pPr>
            <a:fld id="{89AA4CF2-98ED-4480-867D-4533B78D23B5}" type="slidenum">
              <a:rPr lang="fr-CA" altLang="fr-FR" smtClean="0"/>
              <a:pPr algn="r">
                <a:defRPr/>
              </a:pPr>
              <a:t>‹#›</a:t>
            </a:fld>
            <a:endParaRPr lang="fr-CA" altLang="fr-FR" dirty="0"/>
          </a:p>
        </p:txBody>
      </p:sp>
      <p:sp>
        <p:nvSpPr>
          <p:cNvPr id="14" name="Espace réservé du texte 8">
            <a:extLst>
              <a:ext uri="{FF2B5EF4-FFF2-40B4-BE49-F238E27FC236}">
                <a16:creationId xmlns:a16="http://schemas.microsoft.com/office/drawing/2014/main" id="{A2E1DE36-075C-4567-A045-CD79886546B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92931" y="237296"/>
            <a:ext cx="7488832" cy="432047"/>
          </a:xfrm>
        </p:spPr>
        <p:txBody>
          <a:bodyPr anchor="b" anchorCtr="0"/>
          <a:lstStyle>
            <a:lvl1pPr>
              <a:defRPr sz="2400">
                <a:solidFill>
                  <a:srgbClr val="07072B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fr-CA" dirty="0"/>
              <a:t>Titre de slide</a:t>
            </a:r>
          </a:p>
        </p:txBody>
      </p:sp>
    </p:spTree>
    <p:extLst>
      <p:ext uri="{BB962C8B-B14F-4D97-AF65-F5344CB8AC3E}">
        <p14:creationId xmlns:p14="http://schemas.microsoft.com/office/powerpoint/2010/main" val="411502891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ge texte long titre 2 collone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Objet 3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588" y="1588"/>
            <a:ext cx="1587" cy="1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Freeform 5"/>
          <p:cNvSpPr>
            <a:spLocks/>
          </p:cNvSpPr>
          <p:nvPr userDrawn="1"/>
        </p:nvSpPr>
        <p:spPr bwMode="auto">
          <a:xfrm>
            <a:off x="4067175" y="2243138"/>
            <a:ext cx="0" cy="0"/>
          </a:xfrm>
          <a:custGeom>
            <a:avLst/>
            <a:gdLst>
              <a:gd name="T0" fmla="*/ 0 60000 65536"/>
              <a:gd name="T1" fmla="*/ 0 60000 65536"/>
              <a:gd name="T2" fmla="*/ 0 60000 65536"/>
            </a:gdLst>
            <a:ahLst/>
            <a:cxnLst>
              <a:cxn ang="T0">
                <a:pos x="0" y="0"/>
              </a:cxn>
              <a:cxn ang="T1">
                <a:pos x="0" y="0"/>
              </a:cxn>
              <a:cxn ang="T2">
                <a:pos x="0" y="0"/>
              </a:cxn>
            </a:cxnLst>
            <a:rect l="0" t="0" r="r" b="b"/>
            <a:pathLst>
              <a:path>
                <a:moveTo>
                  <a:pt x="0" y="0"/>
                </a:moveTo>
                <a:cubicBezTo>
                  <a:pt x="0" y="0"/>
                  <a:pt x="0" y="0"/>
                  <a:pt x="0" y="0"/>
                </a:cubicBezTo>
                <a:cubicBezTo>
                  <a:pt x="0" y="0"/>
                  <a:pt x="0" y="0"/>
                  <a:pt x="0" y="0"/>
                </a:cubicBezTo>
                <a:close/>
              </a:path>
            </a:pathLst>
          </a:custGeom>
          <a:solidFill>
            <a:srgbClr val="FFFFFF"/>
          </a:solidFill>
          <a:ln w="9525">
            <a:noFill/>
            <a:round/>
            <a:headEnd/>
            <a:tailEnd/>
          </a:ln>
        </p:spPr>
        <p:txBody>
          <a:bodyPr lIns="102363" tIns="51178" rIns="102363" bIns="51178"/>
          <a:lstStyle/>
          <a:p>
            <a:endParaRPr lang="en-GB" dirty="0"/>
          </a:p>
        </p:txBody>
      </p:sp>
      <p:sp>
        <p:nvSpPr>
          <p:cNvPr id="11" name="Freeform 6"/>
          <p:cNvSpPr>
            <a:spLocks/>
          </p:cNvSpPr>
          <p:nvPr userDrawn="1"/>
        </p:nvSpPr>
        <p:spPr bwMode="auto">
          <a:xfrm>
            <a:off x="4032250" y="1962150"/>
            <a:ext cx="0" cy="0"/>
          </a:xfrm>
          <a:custGeom>
            <a:avLst/>
            <a:gdLst>
              <a:gd name="T0" fmla="*/ 0 60000 65536"/>
              <a:gd name="T1" fmla="*/ 0 60000 65536"/>
              <a:gd name="T2" fmla="*/ 0 60000 65536"/>
            </a:gdLst>
            <a:ahLst/>
            <a:cxnLst>
              <a:cxn ang="T0">
                <a:pos x="0" y="0"/>
              </a:cxn>
              <a:cxn ang="T1">
                <a:pos x="0" y="0"/>
              </a:cxn>
              <a:cxn ang="T2">
                <a:pos x="0" y="0"/>
              </a:cxn>
            </a:cxnLst>
            <a:rect l="0" t="0" r="r" b="b"/>
            <a:pathLst>
              <a:path>
                <a:moveTo>
                  <a:pt x="0" y="0"/>
                </a:moveTo>
                <a:cubicBezTo>
                  <a:pt x="0" y="0"/>
                  <a:pt x="0" y="0"/>
                  <a:pt x="0" y="0"/>
                </a:cubicBezTo>
                <a:cubicBezTo>
                  <a:pt x="0" y="0"/>
                  <a:pt x="0" y="0"/>
                  <a:pt x="0" y="0"/>
                </a:cubicBezTo>
                <a:close/>
              </a:path>
            </a:pathLst>
          </a:custGeom>
          <a:solidFill>
            <a:srgbClr val="FFFFFF"/>
          </a:solidFill>
          <a:ln w="9525">
            <a:noFill/>
            <a:round/>
            <a:headEnd/>
            <a:tailEnd/>
          </a:ln>
        </p:spPr>
        <p:txBody>
          <a:bodyPr lIns="102363" tIns="51178" rIns="102363" bIns="51178"/>
          <a:lstStyle/>
          <a:p>
            <a:endParaRPr lang="en-GB" dirty="0"/>
          </a:p>
        </p:txBody>
      </p:sp>
      <p:sp>
        <p:nvSpPr>
          <p:cNvPr id="15" name="Espace réservé du contenu 14">
            <a:extLst>
              <a:ext uri="{FF2B5EF4-FFF2-40B4-BE49-F238E27FC236}">
                <a16:creationId xmlns:a16="http://schemas.microsoft.com/office/drawing/2014/main" id="{8E6D8F5F-AE41-47A6-B8D2-85F5131EBCE3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913013" y="3141762"/>
            <a:ext cx="5184575" cy="3168352"/>
          </a:xfrm>
        </p:spPr>
        <p:txBody>
          <a:bodyPr numCol="1"/>
          <a:lstStyle>
            <a:lvl1pPr algn="l" rtl="0">
              <a:defRPr lang="en-GB" sz="1200" b="0" i="0" u="none" strike="noStrike" baseline="30000" smtClean="0"/>
            </a:lvl1pPr>
          </a:lstStyle>
          <a:p>
            <a:pPr rtl="0"/>
            <a:r>
              <a:rPr lang="en-GB" sz="2300" b="0" i="0" u="none" strike="noStrike" baseline="30000" dirty="0" err="1">
                <a:solidFill>
                  <a:srgbClr val="08082B"/>
                </a:solidFill>
                <a:latin typeface="Century Gothic" panose="020B0502020202020204" pitchFamily="34" charset="0"/>
              </a:rPr>
              <a:t>Equam</a:t>
            </a:r>
            <a:r>
              <a:rPr lang="en-GB" sz="2300" b="0" i="0" u="none" strike="noStrike" baseline="30000" dirty="0">
                <a:solidFill>
                  <a:srgbClr val="08082B"/>
                </a:solidFill>
                <a:latin typeface="Century Gothic" panose="020B0502020202020204" pitchFamily="34" charset="0"/>
              </a:rPr>
              <a:t> re </a:t>
            </a:r>
            <a:r>
              <a:rPr lang="en-GB" sz="2300" b="0" i="0" u="none" strike="noStrike" baseline="30000" dirty="0" err="1">
                <a:solidFill>
                  <a:srgbClr val="08082B"/>
                </a:solidFill>
                <a:latin typeface="Century Gothic" panose="020B0502020202020204" pitchFamily="34" charset="0"/>
              </a:rPr>
              <a:t>laboriatiis</a:t>
            </a:r>
            <a:r>
              <a:rPr lang="en-GB" sz="2300" b="0" i="0" u="none" strike="noStrike" baseline="30000" dirty="0">
                <a:solidFill>
                  <a:srgbClr val="08082B"/>
                </a:solidFill>
                <a:latin typeface="Century Gothic" panose="020B0502020202020204" pitchFamily="34" charset="0"/>
              </a:rPr>
              <a:t> </a:t>
            </a:r>
            <a:r>
              <a:rPr lang="en-GB" sz="2300" b="0" i="0" u="none" strike="noStrike" baseline="30000" dirty="0" err="1">
                <a:solidFill>
                  <a:srgbClr val="08082B"/>
                </a:solidFill>
                <a:latin typeface="Century Gothic" panose="020B0502020202020204" pitchFamily="34" charset="0"/>
              </a:rPr>
              <a:t>moluptat</a:t>
            </a:r>
            <a:r>
              <a:rPr lang="en-GB" sz="2300" b="0" i="0" u="none" strike="noStrike" baseline="30000" dirty="0">
                <a:solidFill>
                  <a:srgbClr val="08082B"/>
                </a:solidFill>
                <a:latin typeface="Century Gothic" panose="020B0502020202020204" pitchFamily="34" charset="0"/>
              </a:rPr>
              <a:t> </a:t>
            </a:r>
            <a:r>
              <a:rPr lang="en-GB" sz="2300" b="0" i="0" u="none" strike="noStrike" baseline="30000" dirty="0" err="1">
                <a:solidFill>
                  <a:srgbClr val="08082B"/>
                </a:solidFill>
                <a:latin typeface="Century Gothic" panose="020B0502020202020204" pitchFamily="34" charset="0"/>
              </a:rPr>
              <a:t>restiam</a:t>
            </a:r>
            <a:r>
              <a:rPr lang="en-GB" sz="2300" b="0" i="0" u="none" strike="noStrike" baseline="30000" dirty="0">
                <a:solidFill>
                  <a:srgbClr val="08082B"/>
                </a:solidFill>
                <a:latin typeface="Century Gothic" panose="020B0502020202020204" pitchFamily="34" charset="0"/>
              </a:rPr>
              <a:t>, que </a:t>
            </a:r>
            <a:r>
              <a:rPr lang="en-GB" sz="2300" b="0" i="0" u="none" strike="noStrike" baseline="30000" dirty="0" err="1">
                <a:solidFill>
                  <a:srgbClr val="08082B"/>
                </a:solidFill>
                <a:latin typeface="Century Gothic" panose="020B0502020202020204" pitchFamily="34" charset="0"/>
              </a:rPr>
              <a:t>labo</a:t>
            </a:r>
            <a:r>
              <a:rPr lang="en-GB" sz="2300" b="0" i="0" u="none" strike="noStrike" baseline="30000" dirty="0">
                <a:solidFill>
                  <a:srgbClr val="08082B"/>
                </a:solidFill>
                <a:latin typeface="Century Gothic" panose="020B0502020202020204" pitchFamily="34" charset="0"/>
              </a:rPr>
              <a:t>. </a:t>
            </a:r>
            <a:r>
              <a:rPr lang="en-GB" sz="2300" b="0" i="0" u="none" strike="noStrike" baseline="30000" dirty="0" err="1">
                <a:solidFill>
                  <a:srgbClr val="08082B"/>
                </a:solidFill>
                <a:latin typeface="Century Gothic" panose="020B0502020202020204" pitchFamily="34" charset="0"/>
              </a:rPr>
              <a:t>Enimus</a:t>
            </a:r>
            <a:r>
              <a:rPr lang="en-GB" sz="2300" b="0" i="0" u="none" strike="noStrike" baseline="30000" dirty="0">
                <a:solidFill>
                  <a:srgbClr val="08082B"/>
                </a:solidFill>
                <a:latin typeface="Century Gothic" panose="020B0502020202020204" pitchFamily="34" charset="0"/>
              </a:rPr>
              <a:t> </a:t>
            </a:r>
            <a:br>
              <a:rPr lang="en-GB" sz="2300" b="0" i="0" u="none" strike="noStrike" baseline="30000" dirty="0">
                <a:solidFill>
                  <a:srgbClr val="08082B"/>
                </a:solidFill>
                <a:latin typeface="Century Gothic" panose="020B0502020202020204" pitchFamily="34" charset="0"/>
              </a:rPr>
            </a:br>
            <a:r>
              <a:rPr lang="en-GB" sz="2300" b="0" i="0" u="none" strike="noStrike" baseline="30000" dirty="0" err="1">
                <a:solidFill>
                  <a:srgbClr val="08082B"/>
                </a:solidFill>
                <a:latin typeface="Century Gothic" panose="020B0502020202020204" pitchFamily="34" charset="0"/>
              </a:rPr>
              <a:t>estio</a:t>
            </a:r>
            <a:r>
              <a:rPr lang="en-GB" sz="2300" b="0" i="0" u="none" strike="noStrike" baseline="30000" dirty="0">
                <a:solidFill>
                  <a:srgbClr val="08082B"/>
                </a:solidFill>
                <a:latin typeface="Century Gothic" panose="020B0502020202020204" pitchFamily="34" charset="0"/>
              </a:rPr>
              <a:t> </a:t>
            </a:r>
            <a:r>
              <a:rPr lang="en-GB" sz="2300" b="0" i="0" u="none" strike="noStrike" baseline="30000" dirty="0" err="1">
                <a:solidFill>
                  <a:srgbClr val="08082B"/>
                </a:solidFill>
                <a:latin typeface="Century Gothic" panose="020B0502020202020204" pitchFamily="34" charset="0"/>
              </a:rPr>
              <a:t>ilic</a:t>
            </a:r>
            <a:r>
              <a:rPr lang="en-GB" sz="2300" b="0" i="0" u="none" strike="noStrike" baseline="30000" dirty="0">
                <a:solidFill>
                  <a:srgbClr val="08082B"/>
                </a:solidFill>
                <a:latin typeface="Century Gothic" panose="020B0502020202020204" pitchFamily="34" charset="0"/>
              </a:rPr>
              <a:t> </a:t>
            </a:r>
            <a:r>
              <a:rPr lang="en-GB" sz="2300" b="0" i="0" u="none" strike="noStrike" baseline="30000" dirty="0" err="1">
                <a:solidFill>
                  <a:srgbClr val="08082B"/>
                </a:solidFill>
                <a:latin typeface="Century Gothic" panose="020B0502020202020204" pitchFamily="34" charset="0"/>
              </a:rPr>
              <a:t>tectatecab</a:t>
            </a:r>
            <a:r>
              <a:rPr lang="en-GB" sz="2300" b="0" i="0" u="none" strike="noStrike" baseline="30000" dirty="0">
                <a:solidFill>
                  <a:srgbClr val="08082B"/>
                </a:solidFill>
                <a:latin typeface="Century Gothic" panose="020B0502020202020204" pitchFamily="34" charset="0"/>
              </a:rPr>
              <a:t> in </a:t>
            </a:r>
            <a:r>
              <a:rPr lang="en-GB" sz="2300" b="0" i="0" u="none" strike="noStrike" baseline="30000" dirty="0" err="1">
                <a:solidFill>
                  <a:srgbClr val="08082B"/>
                </a:solidFill>
                <a:latin typeface="Century Gothic" panose="020B0502020202020204" pitchFamily="34" charset="0"/>
              </a:rPr>
              <a:t>eum</a:t>
            </a:r>
            <a:r>
              <a:rPr lang="en-GB" sz="2300" b="0" i="0" u="none" strike="noStrike" baseline="30000" dirty="0">
                <a:solidFill>
                  <a:srgbClr val="08082B"/>
                </a:solidFill>
                <a:latin typeface="Century Gothic" panose="020B0502020202020204" pitchFamily="34" charset="0"/>
              </a:rPr>
              <a:t> quid </a:t>
            </a:r>
            <a:r>
              <a:rPr lang="en-GB" sz="2300" b="0" i="0" u="none" strike="noStrike" baseline="30000" dirty="0" err="1">
                <a:solidFill>
                  <a:srgbClr val="08082B"/>
                </a:solidFill>
                <a:latin typeface="Century Gothic" panose="020B0502020202020204" pitchFamily="34" charset="0"/>
              </a:rPr>
              <a:t>experi</a:t>
            </a:r>
            <a:r>
              <a:rPr lang="en-GB" sz="2300" b="0" i="0" u="none" strike="noStrike" baseline="30000" dirty="0">
                <a:solidFill>
                  <a:srgbClr val="08082B"/>
                </a:solidFill>
                <a:latin typeface="Century Gothic" panose="020B0502020202020204" pitchFamily="34" charset="0"/>
              </a:rPr>
              <a:t> con </a:t>
            </a:r>
            <a:r>
              <a:rPr lang="en-GB" sz="2300" b="0" i="0" u="none" strike="noStrike" baseline="30000" dirty="0" err="1">
                <a:solidFill>
                  <a:srgbClr val="08082B"/>
                </a:solidFill>
                <a:latin typeface="Century Gothic" panose="020B0502020202020204" pitchFamily="34" charset="0"/>
              </a:rPr>
              <a:t>nulum</a:t>
            </a:r>
            <a:r>
              <a:rPr lang="en-GB" sz="2300" b="0" i="0" u="none" strike="noStrike" baseline="30000" dirty="0">
                <a:solidFill>
                  <a:srgbClr val="08082B"/>
                </a:solidFill>
                <a:latin typeface="Century Gothic" panose="020B0502020202020204" pitchFamily="34" charset="0"/>
              </a:rPr>
              <a:t> </a:t>
            </a:r>
            <a:r>
              <a:rPr lang="en-GB" sz="2300" b="0" i="0" u="none" strike="noStrike" baseline="30000" dirty="0" err="1">
                <a:solidFill>
                  <a:srgbClr val="08082B"/>
                </a:solidFill>
                <a:latin typeface="Century Gothic" panose="020B0502020202020204" pitchFamily="34" charset="0"/>
              </a:rPr>
              <a:t>ea</a:t>
            </a:r>
            <a:r>
              <a:rPr lang="en-GB" sz="2300" b="0" i="0" u="none" strike="noStrike" baseline="30000" dirty="0">
                <a:solidFill>
                  <a:srgbClr val="08082B"/>
                </a:solidFill>
                <a:latin typeface="Century Gothic" panose="020B0502020202020204" pitchFamily="34" charset="0"/>
              </a:rPr>
              <a:t> </a:t>
            </a:r>
            <a:br>
              <a:rPr lang="en-GB" sz="2300" b="0" i="0" u="none" strike="noStrike" baseline="30000" dirty="0">
                <a:solidFill>
                  <a:srgbClr val="08082B"/>
                </a:solidFill>
                <a:latin typeface="Century Gothic" panose="020B0502020202020204" pitchFamily="34" charset="0"/>
              </a:rPr>
            </a:br>
            <a:r>
              <a:rPr lang="en-GB" sz="2300" b="0" i="0" u="none" strike="noStrike" baseline="30000" dirty="0">
                <a:solidFill>
                  <a:srgbClr val="08082B"/>
                </a:solidFill>
                <a:latin typeface="Century Gothic" panose="020B0502020202020204" pitchFamily="34" charset="0"/>
              </a:rPr>
              <a:t>que </a:t>
            </a:r>
            <a:r>
              <a:rPr lang="en-GB" sz="2300" b="0" i="0" u="none" strike="noStrike" baseline="30000" dirty="0" err="1">
                <a:solidFill>
                  <a:srgbClr val="08082B"/>
                </a:solidFill>
                <a:latin typeface="Century Gothic" panose="020B0502020202020204" pitchFamily="34" charset="0"/>
              </a:rPr>
              <a:t>nos</a:t>
            </a:r>
            <a:r>
              <a:rPr lang="en-GB" sz="2300" b="0" i="0" u="none" strike="noStrike" baseline="30000" dirty="0">
                <a:solidFill>
                  <a:srgbClr val="08082B"/>
                </a:solidFill>
                <a:latin typeface="Century Gothic" panose="020B0502020202020204" pitchFamily="34" charset="0"/>
              </a:rPr>
              <a:t> </a:t>
            </a:r>
            <a:r>
              <a:rPr lang="en-GB" sz="2300" b="0" i="0" u="none" strike="noStrike" baseline="30000" dirty="0" err="1">
                <a:solidFill>
                  <a:srgbClr val="08082B"/>
                </a:solidFill>
                <a:latin typeface="Century Gothic" panose="020B0502020202020204" pitchFamily="34" charset="0"/>
              </a:rPr>
              <a:t>rerit</a:t>
            </a:r>
            <a:r>
              <a:rPr lang="en-GB" sz="2300" b="0" i="0" u="none" strike="noStrike" baseline="30000" dirty="0">
                <a:solidFill>
                  <a:srgbClr val="08082B"/>
                </a:solidFill>
                <a:latin typeface="Century Gothic" panose="020B0502020202020204" pitchFamily="34" charset="0"/>
              </a:rPr>
              <a:t> quid </a:t>
            </a:r>
            <a:r>
              <a:rPr lang="en-GB" sz="2300" b="0" i="0" u="none" strike="noStrike" baseline="30000" dirty="0" err="1">
                <a:solidFill>
                  <a:srgbClr val="08082B"/>
                </a:solidFill>
                <a:latin typeface="Century Gothic" panose="020B0502020202020204" pitchFamily="34" charset="0"/>
              </a:rPr>
              <a:t>quatur</a:t>
            </a:r>
            <a:r>
              <a:rPr lang="en-GB" sz="2300" b="0" i="0" u="none" strike="noStrike" baseline="30000" dirty="0">
                <a:solidFill>
                  <a:srgbClr val="08082B"/>
                </a:solidFill>
                <a:latin typeface="Century Gothic" panose="020B0502020202020204" pitchFamily="34" charset="0"/>
              </a:rPr>
              <a:t> </a:t>
            </a:r>
            <a:r>
              <a:rPr lang="en-GB" sz="2300" b="0" i="0" u="none" strike="noStrike" baseline="30000" dirty="0" err="1">
                <a:solidFill>
                  <a:srgbClr val="08082B"/>
                </a:solidFill>
                <a:latin typeface="Century Gothic" panose="020B0502020202020204" pitchFamily="34" charset="0"/>
              </a:rPr>
              <a:t>aut</a:t>
            </a:r>
            <a:r>
              <a:rPr lang="en-GB" sz="2300" b="0" i="0" u="none" strike="noStrike" baseline="30000" dirty="0">
                <a:solidFill>
                  <a:srgbClr val="08082B"/>
                </a:solidFill>
                <a:latin typeface="Century Gothic" panose="020B0502020202020204" pitchFamily="34" charset="0"/>
              </a:rPr>
              <a:t> </a:t>
            </a:r>
            <a:r>
              <a:rPr lang="en-GB" sz="2300" b="0" i="0" u="none" strike="noStrike" baseline="30000" dirty="0" err="1">
                <a:solidFill>
                  <a:srgbClr val="08082B"/>
                </a:solidFill>
                <a:latin typeface="Century Gothic" panose="020B0502020202020204" pitchFamily="34" charset="0"/>
              </a:rPr>
              <a:t>laborer</a:t>
            </a:r>
            <a:r>
              <a:rPr lang="en-GB" sz="2300" b="0" i="0" u="none" strike="noStrike" baseline="30000" dirty="0">
                <a:solidFill>
                  <a:srgbClr val="08082B"/>
                </a:solidFill>
                <a:latin typeface="Century Gothic" panose="020B0502020202020204" pitchFamily="34" charset="0"/>
              </a:rPr>
              <a:t> </a:t>
            </a:r>
            <a:r>
              <a:rPr lang="en-GB" sz="2300" b="0" i="0" u="none" strike="noStrike" baseline="30000" dirty="0" err="1">
                <a:solidFill>
                  <a:srgbClr val="08082B"/>
                </a:solidFill>
                <a:latin typeface="Century Gothic" panose="020B0502020202020204" pitchFamily="34" charset="0"/>
              </a:rPr>
              <a:t>oressec</a:t>
            </a:r>
            <a:r>
              <a:rPr lang="en-GB" sz="2300" b="0" i="0" u="none" strike="noStrike" baseline="30000" dirty="0">
                <a:solidFill>
                  <a:srgbClr val="08082B"/>
                </a:solidFill>
                <a:latin typeface="Century Gothic" panose="020B0502020202020204" pitchFamily="34" charset="0"/>
              </a:rPr>
              <a:t> </a:t>
            </a:r>
            <a:r>
              <a:rPr lang="en-GB" sz="2300" b="0" i="0" u="none" strike="noStrike" baseline="30000" dirty="0" err="1">
                <a:solidFill>
                  <a:srgbClr val="08082B"/>
                </a:solidFill>
                <a:latin typeface="Century Gothic" panose="020B0502020202020204" pitchFamily="34" charset="0"/>
              </a:rPr>
              <a:t>tatur</a:t>
            </a:r>
            <a:r>
              <a:rPr lang="en-GB" sz="2300" b="0" i="0" u="none" strike="noStrike" baseline="30000" dirty="0">
                <a:solidFill>
                  <a:srgbClr val="08082B"/>
                </a:solidFill>
                <a:latin typeface="Century Gothic" panose="020B0502020202020204" pitchFamily="34" charset="0"/>
              </a:rPr>
              <a:t>, sim </a:t>
            </a:r>
            <a:br>
              <a:rPr lang="en-GB" sz="2300" b="0" i="0" u="none" strike="noStrike" baseline="30000" dirty="0">
                <a:solidFill>
                  <a:srgbClr val="08082B"/>
                </a:solidFill>
                <a:latin typeface="Century Gothic" panose="020B0502020202020204" pitchFamily="34" charset="0"/>
              </a:rPr>
            </a:br>
            <a:r>
              <a:rPr lang="en-GB" sz="2300" b="0" i="0" u="none" strike="noStrike" baseline="30000" dirty="0">
                <a:solidFill>
                  <a:srgbClr val="08082B"/>
                </a:solidFill>
                <a:latin typeface="Century Gothic" panose="020B0502020202020204" pitchFamily="34" charset="0"/>
              </a:rPr>
              <a:t>que </a:t>
            </a:r>
            <a:r>
              <a:rPr lang="en-GB" sz="2300" b="0" i="0" u="none" strike="noStrike" baseline="30000" dirty="0" err="1">
                <a:solidFill>
                  <a:srgbClr val="08082B"/>
                </a:solidFill>
                <a:latin typeface="Century Gothic" panose="020B0502020202020204" pitchFamily="34" charset="0"/>
              </a:rPr>
              <a:t>soluptatet</a:t>
            </a:r>
            <a:r>
              <a:rPr lang="en-GB" sz="2300" b="0" i="0" u="none" strike="noStrike" baseline="30000" dirty="0">
                <a:solidFill>
                  <a:srgbClr val="08082B"/>
                </a:solidFill>
                <a:latin typeface="Century Gothic" panose="020B0502020202020204" pitchFamily="34" charset="0"/>
              </a:rPr>
              <a:t> </a:t>
            </a:r>
            <a:r>
              <a:rPr lang="en-GB" sz="2300" b="0" i="0" u="none" strike="noStrike" baseline="30000" dirty="0" err="1">
                <a:solidFill>
                  <a:srgbClr val="08082B"/>
                </a:solidFill>
                <a:latin typeface="Century Gothic" panose="020B0502020202020204" pitchFamily="34" charset="0"/>
              </a:rPr>
              <a:t>audantia</a:t>
            </a:r>
            <a:r>
              <a:rPr lang="en-GB" sz="2300" b="0" i="0" u="none" strike="noStrike" baseline="30000" dirty="0">
                <a:solidFill>
                  <a:srgbClr val="08082B"/>
                </a:solidFill>
                <a:latin typeface="Century Gothic" panose="020B0502020202020204" pitchFamily="34" charset="0"/>
              </a:rPr>
              <a:t> </a:t>
            </a:r>
            <a:r>
              <a:rPr lang="en-GB" sz="2300" b="0" i="0" u="none" strike="noStrike" baseline="30000" dirty="0" err="1">
                <a:solidFill>
                  <a:srgbClr val="08082B"/>
                </a:solidFill>
                <a:latin typeface="Century Gothic" panose="020B0502020202020204" pitchFamily="34" charset="0"/>
              </a:rPr>
              <a:t>ventur</a:t>
            </a:r>
            <a:r>
              <a:rPr lang="en-GB" sz="2300" b="0" i="0" u="none" strike="noStrike" baseline="30000" dirty="0">
                <a:solidFill>
                  <a:srgbClr val="08082B"/>
                </a:solidFill>
                <a:latin typeface="Century Gothic" panose="020B0502020202020204" pitchFamily="34" charset="0"/>
              </a:rPr>
              <a:t>? </a:t>
            </a:r>
            <a:r>
              <a:rPr lang="en-GB" sz="2300" b="0" i="0" u="none" strike="noStrike" baseline="30000" dirty="0" err="1">
                <a:solidFill>
                  <a:srgbClr val="08082B"/>
                </a:solidFill>
                <a:latin typeface="Century Gothic" panose="020B0502020202020204" pitchFamily="34" charset="0"/>
              </a:rPr>
              <a:t>Temporentis</a:t>
            </a:r>
            <a:r>
              <a:rPr lang="en-GB" sz="2300" b="0" i="0" u="none" strike="noStrike" baseline="30000" dirty="0">
                <a:solidFill>
                  <a:srgbClr val="08082B"/>
                </a:solidFill>
                <a:latin typeface="Century Gothic" panose="020B0502020202020204" pitchFamily="34" charset="0"/>
              </a:rPr>
              <a:t> sim </a:t>
            </a:r>
            <a:r>
              <a:rPr lang="en-GB" sz="2300" b="0" i="0" u="none" strike="noStrike" baseline="30000" dirty="0" err="1">
                <a:solidFill>
                  <a:srgbClr val="08082B"/>
                </a:solidFill>
                <a:latin typeface="Century Gothic" panose="020B0502020202020204" pitchFamily="34" charset="0"/>
              </a:rPr>
              <a:t>cus</a:t>
            </a:r>
            <a:r>
              <a:rPr lang="en-GB" sz="2300" b="0" i="0" u="none" strike="noStrike" baseline="30000" dirty="0">
                <a:solidFill>
                  <a:srgbClr val="08082B"/>
                </a:solidFill>
                <a:latin typeface="Century Gothic" panose="020B0502020202020204" pitchFamily="34" charset="0"/>
              </a:rPr>
              <a:t>, </a:t>
            </a:r>
            <a:br>
              <a:rPr lang="en-GB" sz="2300" b="0" i="0" u="none" strike="noStrike" baseline="30000" dirty="0">
                <a:solidFill>
                  <a:srgbClr val="08082B"/>
                </a:solidFill>
                <a:latin typeface="Century Gothic" panose="020B0502020202020204" pitchFamily="34" charset="0"/>
              </a:rPr>
            </a:br>
            <a:r>
              <a:rPr lang="en-GB" sz="2300" b="0" i="0" u="none" strike="noStrike" baseline="30000" dirty="0" err="1">
                <a:solidFill>
                  <a:srgbClr val="08082B"/>
                </a:solidFill>
                <a:latin typeface="Century Gothic" panose="020B0502020202020204" pitchFamily="34" charset="0"/>
              </a:rPr>
              <a:t>volesti</a:t>
            </a:r>
            <a:r>
              <a:rPr lang="en-GB" sz="2300" b="0" i="0" u="none" strike="noStrike" baseline="30000" dirty="0">
                <a:solidFill>
                  <a:srgbClr val="08082B"/>
                </a:solidFill>
                <a:latin typeface="Century Gothic" panose="020B0502020202020204" pitchFamily="34" charset="0"/>
              </a:rPr>
              <a:t> </a:t>
            </a:r>
            <a:r>
              <a:rPr lang="en-GB" sz="2300" b="0" i="0" u="none" strike="noStrike" baseline="30000" dirty="0" err="1">
                <a:solidFill>
                  <a:srgbClr val="08082B"/>
                </a:solidFill>
                <a:latin typeface="Century Gothic" panose="020B0502020202020204" pitchFamily="34" charset="0"/>
              </a:rPr>
              <a:t>comni</a:t>
            </a:r>
            <a:r>
              <a:rPr lang="en-GB" sz="2300" b="0" i="0" u="none" strike="noStrike" baseline="30000" dirty="0">
                <a:solidFill>
                  <a:srgbClr val="08082B"/>
                </a:solidFill>
                <a:latin typeface="Century Gothic" panose="020B0502020202020204" pitchFamily="34" charset="0"/>
              </a:rPr>
              <a:t> test ped et </a:t>
            </a:r>
            <a:r>
              <a:rPr lang="en-GB" sz="2300" b="0" i="0" u="none" strike="noStrike" baseline="30000" dirty="0" err="1">
                <a:solidFill>
                  <a:srgbClr val="08082B"/>
                </a:solidFill>
                <a:latin typeface="Century Gothic" panose="020B0502020202020204" pitchFamily="34" charset="0"/>
              </a:rPr>
              <a:t>ut</a:t>
            </a:r>
            <a:r>
              <a:rPr lang="en-GB" sz="2300" b="0" i="0" u="none" strike="noStrike" baseline="30000" dirty="0">
                <a:solidFill>
                  <a:srgbClr val="08082B"/>
                </a:solidFill>
                <a:latin typeface="Century Gothic" panose="020B0502020202020204" pitchFamily="34" charset="0"/>
              </a:rPr>
              <a:t> </a:t>
            </a:r>
            <a:r>
              <a:rPr lang="en-GB" sz="2300" b="0" i="0" u="none" strike="noStrike" baseline="30000" dirty="0" err="1">
                <a:solidFill>
                  <a:srgbClr val="08082B"/>
                </a:solidFill>
                <a:latin typeface="Century Gothic" panose="020B0502020202020204" pitchFamily="34" charset="0"/>
              </a:rPr>
              <a:t>officature</a:t>
            </a:r>
            <a:r>
              <a:rPr lang="en-GB" sz="2300" b="0" i="0" u="none" strike="noStrike" baseline="30000" dirty="0">
                <a:solidFill>
                  <a:srgbClr val="08082B"/>
                </a:solidFill>
                <a:latin typeface="Century Gothic" panose="020B0502020202020204" pitchFamily="34" charset="0"/>
              </a:rPr>
              <a:t> ne </a:t>
            </a:r>
            <a:r>
              <a:rPr lang="en-GB" sz="2300" b="0" i="0" u="none" strike="noStrike" baseline="30000" dirty="0" err="1">
                <a:solidFill>
                  <a:srgbClr val="08082B"/>
                </a:solidFill>
                <a:latin typeface="Century Gothic" panose="020B0502020202020204" pitchFamily="34" charset="0"/>
              </a:rPr>
              <a:t>quis</a:t>
            </a:r>
            <a:r>
              <a:rPr lang="en-GB" sz="2300" b="0" i="0" u="none" strike="noStrike" baseline="30000" dirty="0">
                <a:solidFill>
                  <a:srgbClr val="08082B"/>
                </a:solidFill>
                <a:latin typeface="Century Gothic" panose="020B0502020202020204" pitchFamily="34" charset="0"/>
              </a:rPr>
              <a:t> am </a:t>
            </a:r>
            <a:r>
              <a:rPr lang="en-GB" sz="2300" b="0" i="0" u="none" strike="noStrike" baseline="30000" dirty="0" err="1">
                <a:solidFill>
                  <a:srgbClr val="08082B"/>
                </a:solidFill>
                <a:latin typeface="Century Gothic" panose="020B0502020202020204" pitchFamily="34" charset="0"/>
              </a:rPr>
              <a:t>aut</a:t>
            </a:r>
            <a:r>
              <a:rPr lang="en-GB" sz="2300" b="0" i="0" u="none" strike="noStrike" baseline="30000" dirty="0">
                <a:solidFill>
                  <a:srgbClr val="08082B"/>
                </a:solidFill>
                <a:latin typeface="Century Gothic" panose="020B0502020202020204" pitchFamily="34" charset="0"/>
              </a:rPr>
              <a:t> </a:t>
            </a:r>
            <a:r>
              <a:rPr lang="en-GB" sz="2300" b="0" i="0" u="none" strike="noStrike" baseline="30000" dirty="0" err="1">
                <a:solidFill>
                  <a:srgbClr val="08082B"/>
                </a:solidFill>
                <a:latin typeface="Century Gothic" panose="020B0502020202020204" pitchFamily="34" charset="0"/>
              </a:rPr>
              <a:t>aut</a:t>
            </a:r>
            <a:r>
              <a:rPr lang="en-GB" sz="2300" b="0" i="0" u="none" strike="noStrike" baseline="30000" dirty="0">
                <a:solidFill>
                  <a:srgbClr val="08082B"/>
                </a:solidFill>
                <a:latin typeface="Century Gothic" panose="020B0502020202020204" pitchFamily="34" charset="0"/>
              </a:rPr>
              <a:t> </a:t>
            </a:r>
            <a:br>
              <a:rPr lang="en-GB" sz="2300" b="0" i="0" u="none" strike="noStrike" baseline="30000" dirty="0">
                <a:solidFill>
                  <a:srgbClr val="08082B"/>
                </a:solidFill>
                <a:latin typeface="Century Gothic" panose="020B0502020202020204" pitchFamily="34" charset="0"/>
              </a:rPr>
            </a:br>
            <a:r>
              <a:rPr lang="en-GB" sz="2300" b="0" i="0" u="none" strike="noStrike" baseline="30000" dirty="0">
                <a:solidFill>
                  <a:srgbClr val="08082B"/>
                </a:solidFill>
                <a:latin typeface="Century Gothic" panose="020B0502020202020204" pitchFamily="34" charset="0"/>
              </a:rPr>
              <a:t>et es de </a:t>
            </a:r>
            <a:r>
              <a:rPr lang="en-GB" sz="2300" b="0" i="0" u="none" strike="noStrike" baseline="30000" dirty="0" err="1">
                <a:solidFill>
                  <a:srgbClr val="08082B"/>
                </a:solidFill>
                <a:latin typeface="Century Gothic" panose="020B0502020202020204" pitchFamily="34" charset="0"/>
              </a:rPr>
              <a:t>providi</a:t>
            </a:r>
            <a:r>
              <a:rPr lang="en-GB" sz="2300" b="0" i="0" u="none" strike="noStrike" baseline="30000" dirty="0">
                <a:solidFill>
                  <a:srgbClr val="08082B"/>
                </a:solidFill>
                <a:latin typeface="Century Gothic" panose="020B0502020202020204" pitchFamily="34" charset="0"/>
              </a:rPr>
              <a:t> </a:t>
            </a:r>
            <a:r>
              <a:rPr lang="en-GB" sz="2300" b="0" i="0" u="none" strike="noStrike" baseline="30000" dirty="0" err="1">
                <a:solidFill>
                  <a:srgbClr val="08082B"/>
                </a:solidFill>
                <a:latin typeface="Century Gothic" panose="020B0502020202020204" pitchFamily="34" charset="0"/>
              </a:rPr>
              <a:t>aut</a:t>
            </a:r>
            <a:r>
              <a:rPr lang="en-GB" sz="2300" b="0" i="0" u="none" strike="noStrike" baseline="30000" dirty="0">
                <a:solidFill>
                  <a:srgbClr val="08082B"/>
                </a:solidFill>
                <a:latin typeface="Century Gothic" panose="020B0502020202020204" pitchFamily="34" charset="0"/>
              </a:rPr>
              <a:t> </a:t>
            </a:r>
            <a:r>
              <a:rPr lang="en-GB" sz="2300" b="0" i="0" u="none" strike="noStrike" baseline="30000" dirty="0" err="1">
                <a:solidFill>
                  <a:srgbClr val="08082B"/>
                </a:solidFill>
                <a:latin typeface="Century Gothic" panose="020B0502020202020204" pitchFamily="34" charset="0"/>
              </a:rPr>
              <a:t>fugia</a:t>
            </a:r>
            <a:r>
              <a:rPr lang="en-GB" sz="2300" b="0" i="0" u="none" strike="noStrike" baseline="30000" dirty="0">
                <a:solidFill>
                  <a:srgbClr val="08082B"/>
                </a:solidFill>
                <a:latin typeface="Century Gothic" panose="020B0502020202020204" pitchFamily="34" charset="0"/>
              </a:rPr>
              <a:t> </a:t>
            </a:r>
            <a:r>
              <a:rPr lang="en-GB" sz="2300" b="0" i="0" u="none" strike="noStrike" baseline="30000" dirty="0" err="1">
                <a:solidFill>
                  <a:srgbClr val="08082B"/>
                </a:solidFill>
                <a:latin typeface="Century Gothic" panose="020B0502020202020204" pitchFamily="34" charset="0"/>
              </a:rPr>
              <a:t>dolo</a:t>
            </a:r>
            <a:r>
              <a:rPr lang="en-GB" sz="2300" b="0" i="0" u="none" strike="noStrike" baseline="30000" dirty="0">
                <a:solidFill>
                  <a:srgbClr val="08082B"/>
                </a:solidFill>
                <a:latin typeface="Century Gothic" panose="020B0502020202020204" pitchFamily="34" charset="0"/>
              </a:rPr>
              <a:t> </a:t>
            </a:r>
            <a:r>
              <a:rPr lang="en-GB" sz="2300" b="0" i="0" u="none" strike="noStrike" baseline="30000" dirty="0" err="1">
                <a:solidFill>
                  <a:srgbClr val="08082B"/>
                </a:solidFill>
                <a:latin typeface="Century Gothic" panose="020B0502020202020204" pitchFamily="34" charset="0"/>
              </a:rPr>
              <a:t>excersp</a:t>
            </a:r>
            <a:r>
              <a:rPr lang="en-GB" sz="2300" b="0" i="0" u="none" strike="noStrike" baseline="30000" dirty="0">
                <a:solidFill>
                  <a:srgbClr val="08082B"/>
                </a:solidFill>
                <a:latin typeface="Century Gothic" panose="020B0502020202020204" pitchFamily="34" charset="0"/>
              </a:rPr>
              <a:t> </a:t>
            </a:r>
            <a:r>
              <a:rPr lang="en-GB" sz="2300" b="0" i="0" u="none" strike="noStrike" baseline="30000" dirty="0" err="1">
                <a:solidFill>
                  <a:srgbClr val="08082B"/>
                </a:solidFill>
                <a:latin typeface="Century Gothic" panose="020B0502020202020204" pitchFamily="34" charset="0"/>
              </a:rPr>
              <a:t>eritia</a:t>
            </a:r>
            <a:r>
              <a:rPr lang="en-GB" sz="2300" b="0" i="0" u="none" strike="noStrike" baseline="30000" dirty="0">
                <a:solidFill>
                  <a:srgbClr val="08082B"/>
                </a:solidFill>
                <a:latin typeface="Century Gothic" panose="020B0502020202020204" pitchFamily="34" charset="0"/>
              </a:rPr>
              <a:t> </a:t>
            </a:r>
            <a:r>
              <a:rPr lang="en-GB" sz="2300" b="0" i="0" u="none" strike="noStrike" baseline="30000" dirty="0" err="1">
                <a:solidFill>
                  <a:srgbClr val="08082B"/>
                </a:solidFill>
                <a:latin typeface="Century Gothic" panose="020B0502020202020204" pitchFamily="34" charset="0"/>
              </a:rPr>
              <a:t>voluptaerum</a:t>
            </a:r>
            <a:endParaRPr lang="fr-CA" dirty="0"/>
          </a:p>
        </p:txBody>
      </p:sp>
      <p:sp>
        <p:nvSpPr>
          <p:cNvPr id="17" name="Espace réservé du contenu 16">
            <a:extLst>
              <a:ext uri="{FF2B5EF4-FFF2-40B4-BE49-F238E27FC236}">
                <a16:creationId xmlns:a16="http://schemas.microsoft.com/office/drawing/2014/main" id="{06E14FE5-B3E7-415C-ABAD-0A0FB498390E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877043" y="1054100"/>
            <a:ext cx="7740825" cy="1800225"/>
          </a:xfrm>
        </p:spPr>
        <p:txBody>
          <a:bodyPr anchor="t" anchorCtr="0"/>
          <a:lstStyle>
            <a:lvl1pPr algn="l">
              <a:defRPr sz="4000">
                <a:solidFill>
                  <a:srgbClr val="07072B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fr-CA" dirty="0"/>
              <a:t>Page de texte avec long titre </a:t>
            </a:r>
            <a:r>
              <a:rPr lang="fr-CA" dirty="0" err="1"/>
              <a:t>lorem</a:t>
            </a:r>
            <a:r>
              <a:rPr lang="fr-CA" dirty="0"/>
              <a:t> </a:t>
            </a:r>
            <a:r>
              <a:rPr lang="fr-CA" dirty="0" err="1"/>
              <a:t>ipsumtua</a:t>
            </a:r>
            <a:r>
              <a:rPr lang="fr-CA" dirty="0"/>
              <a:t> </a:t>
            </a:r>
            <a:r>
              <a:rPr lang="fr-CA" dirty="0" err="1"/>
              <a:t>dolor</a:t>
            </a:r>
            <a:r>
              <a:rPr lang="fr-CA" dirty="0"/>
              <a:t> </a:t>
            </a:r>
            <a:r>
              <a:rPr lang="fr-CA" dirty="0" err="1"/>
              <a:t>sit</a:t>
            </a:r>
            <a:r>
              <a:rPr lang="fr-CA" dirty="0"/>
              <a:t> </a:t>
            </a:r>
          </a:p>
          <a:p>
            <a:pPr lvl="0"/>
            <a:r>
              <a:rPr lang="fr-CA" dirty="0" err="1"/>
              <a:t>consectetur</a:t>
            </a:r>
            <a:r>
              <a:rPr lang="fr-CA" dirty="0"/>
              <a:t> </a:t>
            </a:r>
            <a:r>
              <a:rPr lang="fr-CA" dirty="0" err="1"/>
              <a:t>adipiscing</a:t>
            </a:r>
            <a:r>
              <a:rPr lang="fr-CA" dirty="0"/>
              <a:t> </a:t>
            </a:r>
            <a:r>
              <a:rPr lang="fr-CA" dirty="0" err="1"/>
              <a:t>elit</a:t>
            </a:r>
            <a:r>
              <a:rPr lang="fr-CA" dirty="0"/>
              <a:t>.</a:t>
            </a:r>
          </a:p>
        </p:txBody>
      </p:sp>
      <p:sp>
        <p:nvSpPr>
          <p:cNvPr id="27" name="Espace réservé du numéro de diapositive 26">
            <a:extLst>
              <a:ext uri="{FF2B5EF4-FFF2-40B4-BE49-F238E27FC236}">
                <a16:creationId xmlns:a16="http://schemas.microsoft.com/office/drawing/2014/main" id="{2DEBE434-B189-41F7-9989-933C9601248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11570195" y="6458106"/>
            <a:ext cx="539750" cy="335892"/>
          </a:xfrm>
          <a:prstGeom prst="rect">
            <a:avLst/>
          </a:prstGeom>
        </p:spPr>
        <p:txBody>
          <a:bodyPr lIns="91434" tIns="45717" rIns="91434" bIns="45717" anchor="b" anchorCtr="0"/>
          <a:lstStyle>
            <a:lvl1pPr>
              <a:defRPr sz="800">
                <a:solidFill>
                  <a:srgbClr val="07072B"/>
                </a:solidFill>
                <a:latin typeface="Century Gothic" panose="020B0502020202020204" pitchFamily="34" charset="0"/>
              </a:defRPr>
            </a:lvl1pPr>
          </a:lstStyle>
          <a:p>
            <a:pPr algn="r">
              <a:defRPr/>
            </a:pPr>
            <a:fld id="{89AA4CF2-98ED-4480-867D-4533B78D23B5}" type="slidenum">
              <a:rPr lang="fr-CA" altLang="fr-FR" smtClean="0"/>
              <a:pPr algn="r">
                <a:defRPr/>
              </a:pPr>
              <a:t>‹#›</a:t>
            </a:fld>
            <a:endParaRPr lang="fr-CA" altLang="fr-FR" dirty="0"/>
          </a:p>
        </p:txBody>
      </p:sp>
      <p:sp>
        <p:nvSpPr>
          <p:cNvPr id="12" name="Espace réservé du contenu 14">
            <a:extLst>
              <a:ext uri="{FF2B5EF4-FFF2-40B4-BE49-F238E27FC236}">
                <a16:creationId xmlns:a16="http://schemas.microsoft.com/office/drawing/2014/main" id="{C0979371-1083-4EA4-9A7D-1EC0A5E55EB8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6464728" y="3141762"/>
            <a:ext cx="5184575" cy="3168352"/>
          </a:xfrm>
        </p:spPr>
        <p:txBody>
          <a:bodyPr numCol="1"/>
          <a:lstStyle>
            <a:lvl1pPr algn="l" rtl="0">
              <a:defRPr lang="en-GB" sz="1200" b="0" i="0" u="none" strike="noStrike" baseline="30000" smtClean="0"/>
            </a:lvl1pPr>
          </a:lstStyle>
          <a:p>
            <a:pPr rtl="0"/>
            <a:r>
              <a:rPr lang="en-GB" sz="2300" b="0" i="0" u="none" strike="noStrike" baseline="30000" dirty="0" err="1">
                <a:solidFill>
                  <a:srgbClr val="08082B"/>
                </a:solidFill>
                <a:latin typeface="Century Gothic" panose="020B0502020202020204" pitchFamily="34" charset="0"/>
              </a:rPr>
              <a:t>Equam</a:t>
            </a:r>
            <a:r>
              <a:rPr lang="en-GB" sz="2300" b="0" i="0" u="none" strike="noStrike" baseline="30000" dirty="0">
                <a:solidFill>
                  <a:srgbClr val="08082B"/>
                </a:solidFill>
                <a:latin typeface="Century Gothic" panose="020B0502020202020204" pitchFamily="34" charset="0"/>
              </a:rPr>
              <a:t> re </a:t>
            </a:r>
            <a:r>
              <a:rPr lang="en-GB" sz="2300" b="0" i="0" u="none" strike="noStrike" baseline="30000" dirty="0" err="1">
                <a:solidFill>
                  <a:srgbClr val="08082B"/>
                </a:solidFill>
                <a:latin typeface="Century Gothic" panose="020B0502020202020204" pitchFamily="34" charset="0"/>
              </a:rPr>
              <a:t>laboriatiis</a:t>
            </a:r>
            <a:r>
              <a:rPr lang="en-GB" sz="2300" b="0" i="0" u="none" strike="noStrike" baseline="30000" dirty="0">
                <a:solidFill>
                  <a:srgbClr val="08082B"/>
                </a:solidFill>
                <a:latin typeface="Century Gothic" panose="020B0502020202020204" pitchFamily="34" charset="0"/>
              </a:rPr>
              <a:t> </a:t>
            </a:r>
            <a:r>
              <a:rPr lang="en-GB" sz="2300" b="0" i="0" u="none" strike="noStrike" baseline="30000" dirty="0" err="1">
                <a:solidFill>
                  <a:srgbClr val="08082B"/>
                </a:solidFill>
                <a:latin typeface="Century Gothic" panose="020B0502020202020204" pitchFamily="34" charset="0"/>
              </a:rPr>
              <a:t>moluptat</a:t>
            </a:r>
            <a:r>
              <a:rPr lang="en-GB" sz="2300" b="0" i="0" u="none" strike="noStrike" baseline="30000" dirty="0">
                <a:solidFill>
                  <a:srgbClr val="08082B"/>
                </a:solidFill>
                <a:latin typeface="Century Gothic" panose="020B0502020202020204" pitchFamily="34" charset="0"/>
              </a:rPr>
              <a:t> </a:t>
            </a:r>
            <a:r>
              <a:rPr lang="en-GB" sz="2300" b="0" i="0" u="none" strike="noStrike" baseline="30000" dirty="0" err="1">
                <a:solidFill>
                  <a:srgbClr val="08082B"/>
                </a:solidFill>
                <a:latin typeface="Century Gothic" panose="020B0502020202020204" pitchFamily="34" charset="0"/>
              </a:rPr>
              <a:t>restiam</a:t>
            </a:r>
            <a:r>
              <a:rPr lang="en-GB" sz="2300" b="0" i="0" u="none" strike="noStrike" baseline="30000" dirty="0">
                <a:solidFill>
                  <a:srgbClr val="08082B"/>
                </a:solidFill>
                <a:latin typeface="Century Gothic" panose="020B0502020202020204" pitchFamily="34" charset="0"/>
              </a:rPr>
              <a:t>, que </a:t>
            </a:r>
            <a:r>
              <a:rPr lang="en-GB" sz="2300" b="0" i="0" u="none" strike="noStrike" baseline="30000" dirty="0" err="1">
                <a:solidFill>
                  <a:srgbClr val="08082B"/>
                </a:solidFill>
                <a:latin typeface="Century Gothic" panose="020B0502020202020204" pitchFamily="34" charset="0"/>
              </a:rPr>
              <a:t>labo</a:t>
            </a:r>
            <a:r>
              <a:rPr lang="en-GB" sz="2300" b="0" i="0" u="none" strike="noStrike" baseline="30000" dirty="0">
                <a:solidFill>
                  <a:srgbClr val="08082B"/>
                </a:solidFill>
                <a:latin typeface="Century Gothic" panose="020B0502020202020204" pitchFamily="34" charset="0"/>
              </a:rPr>
              <a:t>. </a:t>
            </a:r>
            <a:r>
              <a:rPr lang="en-GB" sz="2300" b="0" i="0" u="none" strike="noStrike" baseline="30000" dirty="0" err="1">
                <a:solidFill>
                  <a:srgbClr val="08082B"/>
                </a:solidFill>
                <a:latin typeface="Century Gothic" panose="020B0502020202020204" pitchFamily="34" charset="0"/>
              </a:rPr>
              <a:t>Enimus</a:t>
            </a:r>
            <a:r>
              <a:rPr lang="en-GB" sz="2300" b="0" i="0" u="none" strike="noStrike" baseline="30000" dirty="0">
                <a:solidFill>
                  <a:srgbClr val="08082B"/>
                </a:solidFill>
                <a:latin typeface="Century Gothic" panose="020B0502020202020204" pitchFamily="34" charset="0"/>
              </a:rPr>
              <a:t> </a:t>
            </a:r>
            <a:br>
              <a:rPr lang="en-GB" sz="2300" b="0" i="0" u="none" strike="noStrike" baseline="30000" dirty="0">
                <a:solidFill>
                  <a:srgbClr val="08082B"/>
                </a:solidFill>
                <a:latin typeface="Century Gothic" panose="020B0502020202020204" pitchFamily="34" charset="0"/>
              </a:rPr>
            </a:br>
            <a:r>
              <a:rPr lang="en-GB" sz="2300" b="0" i="0" u="none" strike="noStrike" baseline="30000" dirty="0" err="1">
                <a:solidFill>
                  <a:srgbClr val="08082B"/>
                </a:solidFill>
                <a:latin typeface="Century Gothic" panose="020B0502020202020204" pitchFamily="34" charset="0"/>
              </a:rPr>
              <a:t>estio</a:t>
            </a:r>
            <a:r>
              <a:rPr lang="en-GB" sz="2300" b="0" i="0" u="none" strike="noStrike" baseline="30000" dirty="0">
                <a:solidFill>
                  <a:srgbClr val="08082B"/>
                </a:solidFill>
                <a:latin typeface="Century Gothic" panose="020B0502020202020204" pitchFamily="34" charset="0"/>
              </a:rPr>
              <a:t> </a:t>
            </a:r>
            <a:r>
              <a:rPr lang="en-GB" sz="2300" b="0" i="0" u="none" strike="noStrike" baseline="30000" dirty="0" err="1">
                <a:solidFill>
                  <a:srgbClr val="08082B"/>
                </a:solidFill>
                <a:latin typeface="Century Gothic" panose="020B0502020202020204" pitchFamily="34" charset="0"/>
              </a:rPr>
              <a:t>ilic</a:t>
            </a:r>
            <a:r>
              <a:rPr lang="en-GB" sz="2300" b="0" i="0" u="none" strike="noStrike" baseline="30000" dirty="0">
                <a:solidFill>
                  <a:srgbClr val="08082B"/>
                </a:solidFill>
                <a:latin typeface="Century Gothic" panose="020B0502020202020204" pitchFamily="34" charset="0"/>
              </a:rPr>
              <a:t> </a:t>
            </a:r>
            <a:r>
              <a:rPr lang="en-GB" sz="2300" b="0" i="0" u="none" strike="noStrike" baseline="30000" dirty="0" err="1">
                <a:solidFill>
                  <a:srgbClr val="08082B"/>
                </a:solidFill>
                <a:latin typeface="Century Gothic" panose="020B0502020202020204" pitchFamily="34" charset="0"/>
              </a:rPr>
              <a:t>tectatecab</a:t>
            </a:r>
            <a:r>
              <a:rPr lang="en-GB" sz="2300" b="0" i="0" u="none" strike="noStrike" baseline="30000" dirty="0">
                <a:solidFill>
                  <a:srgbClr val="08082B"/>
                </a:solidFill>
                <a:latin typeface="Century Gothic" panose="020B0502020202020204" pitchFamily="34" charset="0"/>
              </a:rPr>
              <a:t> in </a:t>
            </a:r>
            <a:r>
              <a:rPr lang="en-GB" sz="2300" b="0" i="0" u="none" strike="noStrike" baseline="30000" dirty="0" err="1">
                <a:solidFill>
                  <a:srgbClr val="08082B"/>
                </a:solidFill>
                <a:latin typeface="Century Gothic" panose="020B0502020202020204" pitchFamily="34" charset="0"/>
              </a:rPr>
              <a:t>eum</a:t>
            </a:r>
            <a:r>
              <a:rPr lang="en-GB" sz="2300" b="0" i="0" u="none" strike="noStrike" baseline="30000" dirty="0">
                <a:solidFill>
                  <a:srgbClr val="08082B"/>
                </a:solidFill>
                <a:latin typeface="Century Gothic" panose="020B0502020202020204" pitchFamily="34" charset="0"/>
              </a:rPr>
              <a:t> quid </a:t>
            </a:r>
            <a:r>
              <a:rPr lang="en-GB" sz="2300" b="0" i="0" u="none" strike="noStrike" baseline="30000" dirty="0" err="1">
                <a:solidFill>
                  <a:srgbClr val="08082B"/>
                </a:solidFill>
                <a:latin typeface="Century Gothic" panose="020B0502020202020204" pitchFamily="34" charset="0"/>
              </a:rPr>
              <a:t>experi</a:t>
            </a:r>
            <a:r>
              <a:rPr lang="en-GB" sz="2300" b="0" i="0" u="none" strike="noStrike" baseline="30000" dirty="0">
                <a:solidFill>
                  <a:srgbClr val="08082B"/>
                </a:solidFill>
                <a:latin typeface="Century Gothic" panose="020B0502020202020204" pitchFamily="34" charset="0"/>
              </a:rPr>
              <a:t> con </a:t>
            </a:r>
            <a:r>
              <a:rPr lang="en-GB" sz="2300" b="0" i="0" u="none" strike="noStrike" baseline="30000" dirty="0" err="1">
                <a:solidFill>
                  <a:srgbClr val="08082B"/>
                </a:solidFill>
                <a:latin typeface="Century Gothic" panose="020B0502020202020204" pitchFamily="34" charset="0"/>
              </a:rPr>
              <a:t>nulum</a:t>
            </a:r>
            <a:r>
              <a:rPr lang="en-GB" sz="2300" b="0" i="0" u="none" strike="noStrike" baseline="30000" dirty="0">
                <a:solidFill>
                  <a:srgbClr val="08082B"/>
                </a:solidFill>
                <a:latin typeface="Century Gothic" panose="020B0502020202020204" pitchFamily="34" charset="0"/>
              </a:rPr>
              <a:t> </a:t>
            </a:r>
            <a:r>
              <a:rPr lang="en-GB" sz="2300" b="0" i="0" u="none" strike="noStrike" baseline="30000" dirty="0" err="1">
                <a:solidFill>
                  <a:srgbClr val="08082B"/>
                </a:solidFill>
                <a:latin typeface="Century Gothic" panose="020B0502020202020204" pitchFamily="34" charset="0"/>
              </a:rPr>
              <a:t>ea</a:t>
            </a:r>
            <a:r>
              <a:rPr lang="en-GB" sz="2300" b="0" i="0" u="none" strike="noStrike" baseline="30000" dirty="0">
                <a:solidFill>
                  <a:srgbClr val="08082B"/>
                </a:solidFill>
                <a:latin typeface="Century Gothic" panose="020B0502020202020204" pitchFamily="34" charset="0"/>
              </a:rPr>
              <a:t> </a:t>
            </a:r>
            <a:br>
              <a:rPr lang="en-GB" sz="2300" b="0" i="0" u="none" strike="noStrike" baseline="30000" dirty="0">
                <a:solidFill>
                  <a:srgbClr val="08082B"/>
                </a:solidFill>
                <a:latin typeface="Century Gothic" panose="020B0502020202020204" pitchFamily="34" charset="0"/>
              </a:rPr>
            </a:br>
            <a:r>
              <a:rPr lang="en-GB" sz="2300" b="0" i="0" u="none" strike="noStrike" baseline="30000" dirty="0">
                <a:solidFill>
                  <a:srgbClr val="08082B"/>
                </a:solidFill>
                <a:latin typeface="Century Gothic" panose="020B0502020202020204" pitchFamily="34" charset="0"/>
              </a:rPr>
              <a:t>que </a:t>
            </a:r>
            <a:r>
              <a:rPr lang="en-GB" sz="2300" b="0" i="0" u="none" strike="noStrike" baseline="30000" dirty="0" err="1">
                <a:solidFill>
                  <a:srgbClr val="08082B"/>
                </a:solidFill>
                <a:latin typeface="Century Gothic" panose="020B0502020202020204" pitchFamily="34" charset="0"/>
              </a:rPr>
              <a:t>nos</a:t>
            </a:r>
            <a:r>
              <a:rPr lang="en-GB" sz="2300" b="0" i="0" u="none" strike="noStrike" baseline="30000" dirty="0">
                <a:solidFill>
                  <a:srgbClr val="08082B"/>
                </a:solidFill>
                <a:latin typeface="Century Gothic" panose="020B0502020202020204" pitchFamily="34" charset="0"/>
              </a:rPr>
              <a:t> </a:t>
            </a:r>
            <a:r>
              <a:rPr lang="en-GB" sz="2300" b="0" i="0" u="none" strike="noStrike" baseline="30000" dirty="0" err="1">
                <a:solidFill>
                  <a:srgbClr val="08082B"/>
                </a:solidFill>
                <a:latin typeface="Century Gothic" panose="020B0502020202020204" pitchFamily="34" charset="0"/>
              </a:rPr>
              <a:t>rerit</a:t>
            </a:r>
            <a:r>
              <a:rPr lang="en-GB" sz="2300" b="0" i="0" u="none" strike="noStrike" baseline="30000" dirty="0">
                <a:solidFill>
                  <a:srgbClr val="08082B"/>
                </a:solidFill>
                <a:latin typeface="Century Gothic" panose="020B0502020202020204" pitchFamily="34" charset="0"/>
              </a:rPr>
              <a:t> quid </a:t>
            </a:r>
            <a:r>
              <a:rPr lang="en-GB" sz="2300" b="0" i="0" u="none" strike="noStrike" baseline="30000" dirty="0" err="1">
                <a:solidFill>
                  <a:srgbClr val="08082B"/>
                </a:solidFill>
                <a:latin typeface="Century Gothic" panose="020B0502020202020204" pitchFamily="34" charset="0"/>
              </a:rPr>
              <a:t>quatur</a:t>
            </a:r>
            <a:r>
              <a:rPr lang="en-GB" sz="2300" b="0" i="0" u="none" strike="noStrike" baseline="30000" dirty="0">
                <a:solidFill>
                  <a:srgbClr val="08082B"/>
                </a:solidFill>
                <a:latin typeface="Century Gothic" panose="020B0502020202020204" pitchFamily="34" charset="0"/>
              </a:rPr>
              <a:t> </a:t>
            </a:r>
            <a:r>
              <a:rPr lang="en-GB" sz="2300" b="0" i="0" u="none" strike="noStrike" baseline="30000" dirty="0" err="1">
                <a:solidFill>
                  <a:srgbClr val="08082B"/>
                </a:solidFill>
                <a:latin typeface="Century Gothic" panose="020B0502020202020204" pitchFamily="34" charset="0"/>
              </a:rPr>
              <a:t>aut</a:t>
            </a:r>
            <a:r>
              <a:rPr lang="en-GB" sz="2300" b="0" i="0" u="none" strike="noStrike" baseline="30000" dirty="0">
                <a:solidFill>
                  <a:srgbClr val="08082B"/>
                </a:solidFill>
                <a:latin typeface="Century Gothic" panose="020B0502020202020204" pitchFamily="34" charset="0"/>
              </a:rPr>
              <a:t> </a:t>
            </a:r>
            <a:r>
              <a:rPr lang="en-GB" sz="2300" b="0" i="0" u="none" strike="noStrike" baseline="30000" dirty="0" err="1">
                <a:solidFill>
                  <a:srgbClr val="08082B"/>
                </a:solidFill>
                <a:latin typeface="Century Gothic" panose="020B0502020202020204" pitchFamily="34" charset="0"/>
              </a:rPr>
              <a:t>laborer</a:t>
            </a:r>
            <a:r>
              <a:rPr lang="en-GB" sz="2300" b="0" i="0" u="none" strike="noStrike" baseline="30000" dirty="0">
                <a:solidFill>
                  <a:srgbClr val="08082B"/>
                </a:solidFill>
                <a:latin typeface="Century Gothic" panose="020B0502020202020204" pitchFamily="34" charset="0"/>
              </a:rPr>
              <a:t> </a:t>
            </a:r>
            <a:r>
              <a:rPr lang="en-GB" sz="2300" b="0" i="0" u="none" strike="noStrike" baseline="30000" dirty="0" err="1">
                <a:solidFill>
                  <a:srgbClr val="08082B"/>
                </a:solidFill>
                <a:latin typeface="Century Gothic" panose="020B0502020202020204" pitchFamily="34" charset="0"/>
              </a:rPr>
              <a:t>oressec</a:t>
            </a:r>
            <a:r>
              <a:rPr lang="en-GB" sz="2300" b="0" i="0" u="none" strike="noStrike" baseline="30000" dirty="0">
                <a:solidFill>
                  <a:srgbClr val="08082B"/>
                </a:solidFill>
                <a:latin typeface="Century Gothic" panose="020B0502020202020204" pitchFamily="34" charset="0"/>
              </a:rPr>
              <a:t> </a:t>
            </a:r>
            <a:r>
              <a:rPr lang="en-GB" sz="2300" b="0" i="0" u="none" strike="noStrike" baseline="30000" dirty="0" err="1">
                <a:solidFill>
                  <a:srgbClr val="08082B"/>
                </a:solidFill>
                <a:latin typeface="Century Gothic" panose="020B0502020202020204" pitchFamily="34" charset="0"/>
              </a:rPr>
              <a:t>tatur</a:t>
            </a:r>
            <a:r>
              <a:rPr lang="en-GB" sz="2300" b="0" i="0" u="none" strike="noStrike" baseline="30000" dirty="0">
                <a:solidFill>
                  <a:srgbClr val="08082B"/>
                </a:solidFill>
                <a:latin typeface="Century Gothic" panose="020B0502020202020204" pitchFamily="34" charset="0"/>
              </a:rPr>
              <a:t>, sim </a:t>
            </a:r>
            <a:br>
              <a:rPr lang="en-GB" sz="2300" b="0" i="0" u="none" strike="noStrike" baseline="30000" dirty="0">
                <a:solidFill>
                  <a:srgbClr val="08082B"/>
                </a:solidFill>
                <a:latin typeface="Century Gothic" panose="020B0502020202020204" pitchFamily="34" charset="0"/>
              </a:rPr>
            </a:br>
            <a:r>
              <a:rPr lang="en-GB" sz="2300" b="0" i="0" u="none" strike="noStrike" baseline="30000" dirty="0">
                <a:solidFill>
                  <a:srgbClr val="08082B"/>
                </a:solidFill>
                <a:latin typeface="Century Gothic" panose="020B0502020202020204" pitchFamily="34" charset="0"/>
              </a:rPr>
              <a:t>que </a:t>
            </a:r>
            <a:r>
              <a:rPr lang="en-GB" sz="2300" b="0" i="0" u="none" strike="noStrike" baseline="30000" dirty="0" err="1">
                <a:solidFill>
                  <a:srgbClr val="08082B"/>
                </a:solidFill>
                <a:latin typeface="Century Gothic" panose="020B0502020202020204" pitchFamily="34" charset="0"/>
              </a:rPr>
              <a:t>soluptatet</a:t>
            </a:r>
            <a:r>
              <a:rPr lang="en-GB" sz="2300" b="0" i="0" u="none" strike="noStrike" baseline="30000" dirty="0">
                <a:solidFill>
                  <a:srgbClr val="08082B"/>
                </a:solidFill>
                <a:latin typeface="Century Gothic" panose="020B0502020202020204" pitchFamily="34" charset="0"/>
              </a:rPr>
              <a:t> </a:t>
            </a:r>
            <a:r>
              <a:rPr lang="en-GB" sz="2300" b="0" i="0" u="none" strike="noStrike" baseline="30000" dirty="0" err="1">
                <a:solidFill>
                  <a:srgbClr val="08082B"/>
                </a:solidFill>
                <a:latin typeface="Century Gothic" panose="020B0502020202020204" pitchFamily="34" charset="0"/>
              </a:rPr>
              <a:t>audantia</a:t>
            </a:r>
            <a:r>
              <a:rPr lang="en-GB" sz="2300" b="0" i="0" u="none" strike="noStrike" baseline="30000" dirty="0">
                <a:solidFill>
                  <a:srgbClr val="08082B"/>
                </a:solidFill>
                <a:latin typeface="Century Gothic" panose="020B0502020202020204" pitchFamily="34" charset="0"/>
              </a:rPr>
              <a:t> </a:t>
            </a:r>
            <a:r>
              <a:rPr lang="en-GB" sz="2300" b="0" i="0" u="none" strike="noStrike" baseline="30000" dirty="0" err="1">
                <a:solidFill>
                  <a:srgbClr val="08082B"/>
                </a:solidFill>
                <a:latin typeface="Century Gothic" panose="020B0502020202020204" pitchFamily="34" charset="0"/>
              </a:rPr>
              <a:t>ventur</a:t>
            </a:r>
            <a:r>
              <a:rPr lang="en-GB" sz="2300" b="0" i="0" u="none" strike="noStrike" baseline="30000" dirty="0">
                <a:solidFill>
                  <a:srgbClr val="08082B"/>
                </a:solidFill>
                <a:latin typeface="Century Gothic" panose="020B0502020202020204" pitchFamily="34" charset="0"/>
              </a:rPr>
              <a:t>? </a:t>
            </a:r>
            <a:r>
              <a:rPr lang="en-GB" sz="2300" b="0" i="0" u="none" strike="noStrike" baseline="30000" dirty="0" err="1">
                <a:solidFill>
                  <a:srgbClr val="08082B"/>
                </a:solidFill>
                <a:latin typeface="Century Gothic" panose="020B0502020202020204" pitchFamily="34" charset="0"/>
              </a:rPr>
              <a:t>Temporentis</a:t>
            </a:r>
            <a:r>
              <a:rPr lang="en-GB" sz="2300" b="0" i="0" u="none" strike="noStrike" baseline="30000" dirty="0">
                <a:solidFill>
                  <a:srgbClr val="08082B"/>
                </a:solidFill>
                <a:latin typeface="Century Gothic" panose="020B0502020202020204" pitchFamily="34" charset="0"/>
              </a:rPr>
              <a:t> sim </a:t>
            </a:r>
            <a:r>
              <a:rPr lang="en-GB" sz="2300" b="0" i="0" u="none" strike="noStrike" baseline="30000" dirty="0" err="1">
                <a:solidFill>
                  <a:srgbClr val="08082B"/>
                </a:solidFill>
                <a:latin typeface="Century Gothic" panose="020B0502020202020204" pitchFamily="34" charset="0"/>
              </a:rPr>
              <a:t>cus</a:t>
            </a:r>
            <a:r>
              <a:rPr lang="en-GB" sz="2300" b="0" i="0" u="none" strike="noStrike" baseline="30000" dirty="0">
                <a:solidFill>
                  <a:srgbClr val="08082B"/>
                </a:solidFill>
                <a:latin typeface="Century Gothic" panose="020B0502020202020204" pitchFamily="34" charset="0"/>
              </a:rPr>
              <a:t>, </a:t>
            </a:r>
            <a:br>
              <a:rPr lang="en-GB" sz="2300" b="0" i="0" u="none" strike="noStrike" baseline="30000" dirty="0">
                <a:solidFill>
                  <a:srgbClr val="08082B"/>
                </a:solidFill>
                <a:latin typeface="Century Gothic" panose="020B0502020202020204" pitchFamily="34" charset="0"/>
              </a:rPr>
            </a:br>
            <a:r>
              <a:rPr lang="en-GB" sz="2300" b="0" i="0" u="none" strike="noStrike" baseline="30000" dirty="0" err="1">
                <a:solidFill>
                  <a:srgbClr val="08082B"/>
                </a:solidFill>
                <a:latin typeface="Century Gothic" panose="020B0502020202020204" pitchFamily="34" charset="0"/>
              </a:rPr>
              <a:t>volesti</a:t>
            </a:r>
            <a:r>
              <a:rPr lang="en-GB" sz="2300" b="0" i="0" u="none" strike="noStrike" baseline="30000" dirty="0">
                <a:solidFill>
                  <a:srgbClr val="08082B"/>
                </a:solidFill>
                <a:latin typeface="Century Gothic" panose="020B0502020202020204" pitchFamily="34" charset="0"/>
              </a:rPr>
              <a:t> </a:t>
            </a:r>
            <a:r>
              <a:rPr lang="en-GB" sz="2300" b="0" i="0" u="none" strike="noStrike" baseline="30000" dirty="0" err="1">
                <a:solidFill>
                  <a:srgbClr val="08082B"/>
                </a:solidFill>
                <a:latin typeface="Century Gothic" panose="020B0502020202020204" pitchFamily="34" charset="0"/>
              </a:rPr>
              <a:t>comni</a:t>
            </a:r>
            <a:r>
              <a:rPr lang="en-GB" sz="2300" b="0" i="0" u="none" strike="noStrike" baseline="30000" dirty="0">
                <a:solidFill>
                  <a:srgbClr val="08082B"/>
                </a:solidFill>
                <a:latin typeface="Century Gothic" panose="020B0502020202020204" pitchFamily="34" charset="0"/>
              </a:rPr>
              <a:t> test ped et </a:t>
            </a:r>
            <a:r>
              <a:rPr lang="en-GB" sz="2300" b="0" i="0" u="none" strike="noStrike" baseline="30000" dirty="0" err="1">
                <a:solidFill>
                  <a:srgbClr val="08082B"/>
                </a:solidFill>
                <a:latin typeface="Century Gothic" panose="020B0502020202020204" pitchFamily="34" charset="0"/>
              </a:rPr>
              <a:t>ut</a:t>
            </a:r>
            <a:r>
              <a:rPr lang="en-GB" sz="2300" b="0" i="0" u="none" strike="noStrike" baseline="30000" dirty="0">
                <a:solidFill>
                  <a:srgbClr val="08082B"/>
                </a:solidFill>
                <a:latin typeface="Century Gothic" panose="020B0502020202020204" pitchFamily="34" charset="0"/>
              </a:rPr>
              <a:t> </a:t>
            </a:r>
            <a:r>
              <a:rPr lang="en-GB" sz="2300" b="0" i="0" u="none" strike="noStrike" baseline="30000" dirty="0" err="1">
                <a:solidFill>
                  <a:srgbClr val="08082B"/>
                </a:solidFill>
                <a:latin typeface="Century Gothic" panose="020B0502020202020204" pitchFamily="34" charset="0"/>
              </a:rPr>
              <a:t>officature</a:t>
            </a:r>
            <a:r>
              <a:rPr lang="en-GB" sz="2300" b="0" i="0" u="none" strike="noStrike" baseline="30000" dirty="0">
                <a:solidFill>
                  <a:srgbClr val="08082B"/>
                </a:solidFill>
                <a:latin typeface="Century Gothic" panose="020B0502020202020204" pitchFamily="34" charset="0"/>
              </a:rPr>
              <a:t> ne </a:t>
            </a:r>
            <a:r>
              <a:rPr lang="en-GB" sz="2300" b="0" i="0" u="none" strike="noStrike" baseline="30000" dirty="0" err="1">
                <a:solidFill>
                  <a:srgbClr val="08082B"/>
                </a:solidFill>
                <a:latin typeface="Century Gothic" panose="020B0502020202020204" pitchFamily="34" charset="0"/>
              </a:rPr>
              <a:t>quis</a:t>
            </a:r>
            <a:r>
              <a:rPr lang="en-GB" sz="2300" b="0" i="0" u="none" strike="noStrike" baseline="30000" dirty="0">
                <a:solidFill>
                  <a:srgbClr val="08082B"/>
                </a:solidFill>
                <a:latin typeface="Century Gothic" panose="020B0502020202020204" pitchFamily="34" charset="0"/>
              </a:rPr>
              <a:t> am </a:t>
            </a:r>
            <a:r>
              <a:rPr lang="en-GB" sz="2300" b="0" i="0" u="none" strike="noStrike" baseline="30000" dirty="0" err="1">
                <a:solidFill>
                  <a:srgbClr val="08082B"/>
                </a:solidFill>
                <a:latin typeface="Century Gothic" panose="020B0502020202020204" pitchFamily="34" charset="0"/>
              </a:rPr>
              <a:t>aut</a:t>
            </a:r>
            <a:r>
              <a:rPr lang="en-GB" sz="2300" b="0" i="0" u="none" strike="noStrike" baseline="30000" dirty="0">
                <a:solidFill>
                  <a:srgbClr val="08082B"/>
                </a:solidFill>
                <a:latin typeface="Century Gothic" panose="020B0502020202020204" pitchFamily="34" charset="0"/>
              </a:rPr>
              <a:t> </a:t>
            </a:r>
            <a:r>
              <a:rPr lang="en-GB" sz="2300" b="0" i="0" u="none" strike="noStrike" baseline="30000" dirty="0" err="1">
                <a:solidFill>
                  <a:srgbClr val="08082B"/>
                </a:solidFill>
                <a:latin typeface="Century Gothic" panose="020B0502020202020204" pitchFamily="34" charset="0"/>
              </a:rPr>
              <a:t>aut</a:t>
            </a:r>
            <a:r>
              <a:rPr lang="en-GB" sz="2300" b="0" i="0" u="none" strike="noStrike" baseline="30000" dirty="0">
                <a:solidFill>
                  <a:srgbClr val="08082B"/>
                </a:solidFill>
                <a:latin typeface="Century Gothic" panose="020B0502020202020204" pitchFamily="34" charset="0"/>
              </a:rPr>
              <a:t> </a:t>
            </a:r>
            <a:br>
              <a:rPr lang="en-GB" sz="2300" b="0" i="0" u="none" strike="noStrike" baseline="30000" dirty="0">
                <a:solidFill>
                  <a:srgbClr val="08082B"/>
                </a:solidFill>
                <a:latin typeface="Century Gothic" panose="020B0502020202020204" pitchFamily="34" charset="0"/>
              </a:rPr>
            </a:br>
            <a:r>
              <a:rPr lang="en-GB" sz="2300" b="0" i="0" u="none" strike="noStrike" baseline="30000" dirty="0">
                <a:solidFill>
                  <a:srgbClr val="08082B"/>
                </a:solidFill>
                <a:latin typeface="Century Gothic" panose="020B0502020202020204" pitchFamily="34" charset="0"/>
              </a:rPr>
              <a:t>et es de </a:t>
            </a:r>
            <a:r>
              <a:rPr lang="en-GB" sz="2300" b="0" i="0" u="none" strike="noStrike" baseline="30000" dirty="0" err="1">
                <a:solidFill>
                  <a:srgbClr val="08082B"/>
                </a:solidFill>
                <a:latin typeface="Century Gothic" panose="020B0502020202020204" pitchFamily="34" charset="0"/>
              </a:rPr>
              <a:t>providi</a:t>
            </a:r>
            <a:r>
              <a:rPr lang="en-GB" sz="2300" b="0" i="0" u="none" strike="noStrike" baseline="30000" dirty="0">
                <a:solidFill>
                  <a:srgbClr val="08082B"/>
                </a:solidFill>
                <a:latin typeface="Century Gothic" panose="020B0502020202020204" pitchFamily="34" charset="0"/>
              </a:rPr>
              <a:t> </a:t>
            </a:r>
            <a:r>
              <a:rPr lang="en-GB" sz="2300" b="0" i="0" u="none" strike="noStrike" baseline="30000" dirty="0" err="1">
                <a:solidFill>
                  <a:srgbClr val="08082B"/>
                </a:solidFill>
                <a:latin typeface="Century Gothic" panose="020B0502020202020204" pitchFamily="34" charset="0"/>
              </a:rPr>
              <a:t>aut</a:t>
            </a:r>
            <a:r>
              <a:rPr lang="en-GB" sz="2300" b="0" i="0" u="none" strike="noStrike" baseline="30000" dirty="0">
                <a:solidFill>
                  <a:srgbClr val="08082B"/>
                </a:solidFill>
                <a:latin typeface="Century Gothic" panose="020B0502020202020204" pitchFamily="34" charset="0"/>
              </a:rPr>
              <a:t> </a:t>
            </a:r>
            <a:r>
              <a:rPr lang="en-GB" sz="2300" b="0" i="0" u="none" strike="noStrike" baseline="30000" dirty="0" err="1">
                <a:solidFill>
                  <a:srgbClr val="08082B"/>
                </a:solidFill>
                <a:latin typeface="Century Gothic" panose="020B0502020202020204" pitchFamily="34" charset="0"/>
              </a:rPr>
              <a:t>fugia</a:t>
            </a:r>
            <a:r>
              <a:rPr lang="en-GB" sz="2300" b="0" i="0" u="none" strike="noStrike" baseline="30000" dirty="0">
                <a:solidFill>
                  <a:srgbClr val="08082B"/>
                </a:solidFill>
                <a:latin typeface="Century Gothic" panose="020B0502020202020204" pitchFamily="34" charset="0"/>
              </a:rPr>
              <a:t> </a:t>
            </a:r>
            <a:r>
              <a:rPr lang="en-GB" sz="2300" b="0" i="0" u="none" strike="noStrike" baseline="30000" dirty="0" err="1">
                <a:solidFill>
                  <a:srgbClr val="08082B"/>
                </a:solidFill>
                <a:latin typeface="Century Gothic" panose="020B0502020202020204" pitchFamily="34" charset="0"/>
              </a:rPr>
              <a:t>dolo</a:t>
            </a:r>
            <a:r>
              <a:rPr lang="en-GB" sz="2300" b="0" i="0" u="none" strike="noStrike" baseline="30000" dirty="0">
                <a:solidFill>
                  <a:srgbClr val="08082B"/>
                </a:solidFill>
                <a:latin typeface="Century Gothic" panose="020B0502020202020204" pitchFamily="34" charset="0"/>
              </a:rPr>
              <a:t> </a:t>
            </a:r>
            <a:r>
              <a:rPr lang="en-GB" sz="2300" b="0" i="0" u="none" strike="noStrike" baseline="30000" dirty="0" err="1">
                <a:solidFill>
                  <a:srgbClr val="08082B"/>
                </a:solidFill>
                <a:latin typeface="Century Gothic" panose="020B0502020202020204" pitchFamily="34" charset="0"/>
              </a:rPr>
              <a:t>excersp</a:t>
            </a:r>
            <a:r>
              <a:rPr lang="en-GB" sz="2300" b="0" i="0" u="none" strike="noStrike" baseline="30000" dirty="0">
                <a:solidFill>
                  <a:srgbClr val="08082B"/>
                </a:solidFill>
                <a:latin typeface="Century Gothic" panose="020B0502020202020204" pitchFamily="34" charset="0"/>
              </a:rPr>
              <a:t> </a:t>
            </a:r>
            <a:r>
              <a:rPr lang="en-GB" sz="2300" b="0" i="0" u="none" strike="noStrike" baseline="30000" dirty="0" err="1">
                <a:solidFill>
                  <a:srgbClr val="08082B"/>
                </a:solidFill>
                <a:latin typeface="Century Gothic" panose="020B0502020202020204" pitchFamily="34" charset="0"/>
              </a:rPr>
              <a:t>eritia</a:t>
            </a:r>
            <a:r>
              <a:rPr lang="en-GB" sz="2300" b="0" i="0" u="none" strike="noStrike" baseline="30000" dirty="0">
                <a:solidFill>
                  <a:srgbClr val="08082B"/>
                </a:solidFill>
                <a:latin typeface="Century Gothic" panose="020B0502020202020204" pitchFamily="34" charset="0"/>
              </a:rPr>
              <a:t> </a:t>
            </a:r>
            <a:r>
              <a:rPr lang="en-GB" sz="2300" b="0" i="0" u="none" strike="noStrike" baseline="30000" dirty="0" err="1">
                <a:solidFill>
                  <a:srgbClr val="08082B"/>
                </a:solidFill>
                <a:latin typeface="Century Gothic" panose="020B0502020202020204" pitchFamily="34" charset="0"/>
              </a:rPr>
              <a:t>voluptaerum</a:t>
            </a:r>
            <a:endParaRPr lang="fr-CA" dirty="0"/>
          </a:p>
        </p:txBody>
      </p:sp>
      <p:sp>
        <p:nvSpPr>
          <p:cNvPr id="16" name="Espace réservé du texte 8">
            <a:extLst>
              <a:ext uri="{FF2B5EF4-FFF2-40B4-BE49-F238E27FC236}">
                <a16:creationId xmlns:a16="http://schemas.microsoft.com/office/drawing/2014/main" id="{C5A22A80-1FB0-4DE9-A5FA-C9389FB2D30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92931" y="237296"/>
            <a:ext cx="7488832" cy="432047"/>
          </a:xfrm>
        </p:spPr>
        <p:txBody>
          <a:bodyPr anchor="b" anchorCtr="0"/>
          <a:lstStyle>
            <a:lvl1pPr>
              <a:defRPr sz="2400">
                <a:solidFill>
                  <a:srgbClr val="07072B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fr-CA" dirty="0"/>
              <a:t>Titre de slide</a:t>
            </a:r>
          </a:p>
        </p:txBody>
      </p:sp>
    </p:spTree>
    <p:extLst>
      <p:ext uri="{BB962C8B-B14F-4D97-AF65-F5344CB8AC3E}">
        <p14:creationId xmlns:p14="http://schemas.microsoft.com/office/powerpoint/2010/main" val="3221454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ge texte long titre 1 collon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Objet 3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588" y="1588"/>
            <a:ext cx="1587" cy="1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Freeform 5"/>
          <p:cNvSpPr>
            <a:spLocks/>
          </p:cNvSpPr>
          <p:nvPr userDrawn="1"/>
        </p:nvSpPr>
        <p:spPr bwMode="auto">
          <a:xfrm>
            <a:off x="4067175" y="2243138"/>
            <a:ext cx="0" cy="0"/>
          </a:xfrm>
          <a:custGeom>
            <a:avLst/>
            <a:gdLst>
              <a:gd name="T0" fmla="*/ 0 60000 65536"/>
              <a:gd name="T1" fmla="*/ 0 60000 65536"/>
              <a:gd name="T2" fmla="*/ 0 60000 65536"/>
            </a:gdLst>
            <a:ahLst/>
            <a:cxnLst>
              <a:cxn ang="T0">
                <a:pos x="0" y="0"/>
              </a:cxn>
              <a:cxn ang="T1">
                <a:pos x="0" y="0"/>
              </a:cxn>
              <a:cxn ang="T2">
                <a:pos x="0" y="0"/>
              </a:cxn>
            </a:cxnLst>
            <a:rect l="0" t="0" r="r" b="b"/>
            <a:pathLst>
              <a:path>
                <a:moveTo>
                  <a:pt x="0" y="0"/>
                </a:moveTo>
                <a:cubicBezTo>
                  <a:pt x="0" y="0"/>
                  <a:pt x="0" y="0"/>
                  <a:pt x="0" y="0"/>
                </a:cubicBezTo>
                <a:cubicBezTo>
                  <a:pt x="0" y="0"/>
                  <a:pt x="0" y="0"/>
                  <a:pt x="0" y="0"/>
                </a:cubicBezTo>
                <a:close/>
              </a:path>
            </a:pathLst>
          </a:custGeom>
          <a:solidFill>
            <a:srgbClr val="FFFFFF"/>
          </a:solidFill>
          <a:ln w="9525">
            <a:noFill/>
            <a:round/>
            <a:headEnd/>
            <a:tailEnd/>
          </a:ln>
        </p:spPr>
        <p:txBody>
          <a:bodyPr lIns="102363" tIns="51178" rIns="102363" bIns="51178"/>
          <a:lstStyle/>
          <a:p>
            <a:endParaRPr lang="en-GB" dirty="0"/>
          </a:p>
        </p:txBody>
      </p:sp>
      <p:sp>
        <p:nvSpPr>
          <p:cNvPr id="11" name="Freeform 6"/>
          <p:cNvSpPr>
            <a:spLocks/>
          </p:cNvSpPr>
          <p:nvPr userDrawn="1"/>
        </p:nvSpPr>
        <p:spPr bwMode="auto">
          <a:xfrm>
            <a:off x="4032250" y="1962150"/>
            <a:ext cx="0" cy="0"/>
          </a:xfrm>
          <a:custGeom>
            <a:avLst/>
            <a:gdLst>
              <a:gd name="T0" fmla="*/ 0 60000 65536"/>
              <a:gd name="T1" fmla="*/ 0 60000 65536"/>
              <a:gd name="T2" fmla="*/ 0 60000 65536"/>
            </a:gdLst>
            <a:ahLst/>
            <a:cxnLst>
              <a:cxn ang="T0">
                <a:pos x="0" y="0"/>
              </a:cxn>
              <a:cxn ang="T1">
                <a:pos x="0" y="0"/>
              </a:cxn>
              <a:cxn ang="T2">
                <a:pos x="0" y="0"/>
              </a:cxn>
            </a:cxnLst>
            <a:rect l="0" t="0" r="r" b="b"/>
            <a:pathLst>
              <a:path>
                <a:moveTo>
                  <a:pt x="0" y="0"/>
                </a:moveTo>
                <a:cubicBezTo>
                  <a:pt x="0" y="0"/>
                  <a:pt x="0" y="0"/>
                  <a:pt x="0" y="0"/>
                </a:cubicBezTo>
                <a:cubicBezTo>
                  <a:pt x="0" y="0"/>
                  <a:pt x="0" y="0"/>
                  <a:pt x="0" y="0"/>
                </a:cubicBezTo>
                <a:close/>
              </a:path>
            </a:pathLst>
          </a:custGeom>
          <a:solidFill>
            <a:srgbClr val="FFFFFF"/>
          </a:solidFill>
          <a:ln w="9525">
            <a:noFill/>
            <a:round/>
            <a:headEnd/>
            <a:tailEnd/>
          </a:ln>
        </p:spPr>
        <p:txBody>
          <a:bodyPr lIns="102363" tIns="51178" rIns="102363" bIns="51178"/>
          <a:lstStyle/>
          <a:p>
            <a:endParaRPr lang="en-GB" dirty="0"/>
          </a:p>
        </p:txBody>
      </p:sp>
      <p:sp>
        <p:nvSpPr>
          <p:cNvPr id="15" name="Espace réservé du contenu 14">
            <a:extLst>
              <a:ext uri="{FF2B5EF4-FFF2-40B4-BE49-F238E27FC236}">
                <a16:creationId xmlns:a16="http://schemas.microsoft.com/office/drawing/2014/main" id="{8E6D8F5F-AE41-47A6-B8D2-85F5131EBCE3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5837529" y="1197546"/>
            <a:ext cx="5184575" cy="5112568"/>
          </a:xfrm>
        </p:spPr>
        <p:txBody>
          <a:bodyPr numCol="1"/>
          <a:lstStyle>
            <a:lvl1pPr algn="l" rtl="0">
              <a:defRPr lang="en-GB" sz="1200" b="0" i="0" u="none" strike="noStrike" baseline="30000" smtClean="0"/>
            </a:lvl1pPr>
          </a:lstStyle>
          <a:p>
            <a:pPr rtl="0"/>
            <a:r>
              <a:rPr lang="en-GB" sz="2300" b="0" i="0" u="none" strike="noStrike" baseline="30000" dirty="0" err="1">
                <a:solidFill>
                  <a:srgbClr val="08082B"/>
                </a:solidFill>
                <a:latin typeface="Century Gothic" panose="020B0502020202020204" pitchFamily="34" charset="0"/>
              </a:rPr>
              <a:t>Equam</a:t>
            </a:r>
            <a:r>
              <a:rPr lang="en-GB" sz="2300" b="0" i="0" u="none" strike="noStrike" baseline="30000" dirty="0">
                <a:solidFill>
                  <a:srgbClr val="08082B"/>
                </a:solidFill>
                <a:latin typeface="Century Gothic" panose="020B0502020202020204" pitchFamily="34" charset="0"/>
              </a:rPr>
              <a:t> re </a:t>
            </a:r>
            <a:r>
              <a:rPr lang="en-GB" sz="2300" b="0" i="0" u="none" strike="noStrike" baseline="30000" dirty="0" err="1">
                <a:solidFill>
                  <a:srgbClr val="08082B"/>
                </a:solidFill>
                <a:latin typeface="Century Gothic" panose="020B0502020202020204" pitchFamily="34" charset="0"/>
              </a:rPr>
              <a:t>laboriatiis</a:t>
            </a:r>
            <a:r>
              <a:rPr lang="en-GB" sz="2300" b="0" i="0" u="none" strike="noStrike" baseline="30000" dirty="0">
                <a:solidFill>
                  <a:srgbClr val="08082B"/>
                </a:solidFill>
                <a:latin typeface="Century Gothic" panose="020B0502020202020204" pitchFamily="34" charset="0"/>
              </a:rPr>
              <a:t> </a:t>
            </a:r>
            <a:r>
              <a:rPr lang="en-GB" sz="2300" b="0" i="0" u="none" strike="noStrike" baseline="30000" dirty="0" err="1">
                <a:solidFill>
                  <a:srgbClr val="08082B"/>
                </a:solidFill>
                <a:latin typeface="Century Gothic" panose="020B0502020202020204" pitchFamily="34" charset="0"/>
              </a:rPr>
              <a:t>moluptat</a:t>
            </a:r>
            <a:r>
              <a:rPr lang="en-GB" sz="2300" b="0" i="0" u="none" strike="noStrike" baseline="30000" dirty="0">
                <a:solidFill>
                  <a:srgbClr val="08082B"/>
                </a:solidFill>
                <a:latin typeface="Century Gothic" panose="020B0502020202020204" pitchFamily="34" charset="0"/>
              </a:rPr>
              <a:t> </a:t>
            </a:r>
            <a:r>
              <a:rPr lang="en-GB" sz="2300" b="0" i="0" u="none" strike="noStrike" baseline="30000" dirty="0" err="1">
                <a:solidFill>
                  <a:srgbClr val="08082B"/>
                </a:solidFill>
                <a:latin typeface="Century Gothic" panose="020B0502020202020204" pitchFamily="34" charset="0"/>
              </a:rPr>
              <a:t>restiam</a:t>
            </a:r>
            <a:r>
              <a:rPr lang="en-GB" sz="2300" b="0" i="0" u="none" strike="noStrike" baseline="30000" dirty="0">
                <a:solidFill>
                  <a:srgbClr val="08082B"/>
                </a:solidFill>
                <a:latin typeface="Century Gothic" panose="020B0502020202020204" pitchFamily="34" charset="0"/>
              </a:rPr>
              <a:t>, que </a:t>
            </a:r>
            <a:r>
              <a:rPr lang="en-GB" sz="2300" b="0" i="0" u="none" strike="noStrike" baseline="30000" dirty="0" err="1">
                <a:solidFill>
                  <a:srgbClr val="08082B"/>
                </a:solidFill>
                <a:latin typeface="Century Gothic" panose="020B0502020202020204" pitchFamily="34" charset="0"/>
              </a:rPr>
              <a:t>labo</a:t>
            </a:r>
            <a:r>
              <a:rPr lang="en-GB" sz="2300" b="0" i="0" u="none" strike="noStrike" baseline="30000" dirty="0">
                <a:solidFill>
                  <a:srgbClr val="08082B"/>
                </a:solidFill>
                <a:latin typeface="Century Gothic" panose="020B0502020202020204" pitchFamily="34" charset="0"/>
              </a:rPr>
              <a:t>. </a:t>
            </a:r>
            <a:r>
              <a:rPr lang="en-GB" sz="2300" b="0" i="0" u="none" strike="noStrike" baseline="30000" dirty="0" err="1">
                <a:solidFill>
                  <a:srgbClr val="08082B"/>
                </a:solidFill>
                <a:latin typeface="Century Gothic" panose="020B0502020202020204" pitchFamily="34" charset="0"/>
              </a:rPr>
              <a:t>Enimus</a:t>
            </a:r>
            <a:r>
              <a:rPr lang="en-GB" sz="2300" b="0" i="0" u="none" strike="noStrike" baseline="30000" dirty="0">
                <a:solidFill>
                  <a:srgbClr val="08082B"/>
                </a:solidFill>
                <a:latin typeface="Century Gothic" panose="020B0502020202020204" pitchFamily="34" charset="0"/>
              </a:rPr>
              <a:t> </a:t>
            </a:r>
            <a:br>
              <a:rPr lang="en-GB" sz="2300" b="0" i="0" u="none" strike="noStrike" baseline="30000" dirty="0">
                <a:solidFill>
                  <a:srgbClr val="08082B"/>
                </a:solidFill>
                <a:latin typeface="Century Gothic" panose="020B0502020202020204" pitchFamily="34" charset="0"/>
              </a:rPr>
            </a:br>
            <a:r>
              <a:rPr lang="en-GB" sz="2300" b="0" i="0" u="none" strike="noStrike" baseline="30000" dirty="0" err="1">
                <a:solidFill>
                  <a:srgbClr val="08082B"/>
                </a:solidFill>
                <a:latin typeface="Century Gothic" panose="020B0502020202020204" pitchFamily="34" charset="0"/>
              </a:rPr>
              <a:t>estio</a:t>
            </a:r>
            <a:r>
              <a:rPr lang="en-GB" sz="2300" b="0" i="0" u="none" strike="noStrike" baseline="30000" dirty="0">
                <a:solidFill>
                  <a:srgbClr val="08082B"/>
                </a:solidFill>
                <a:latin typeface="Century Gothic" panose="020B0502020202020204" pitchFamily="34" charset="0"/>
              </a:rPr>
              <a:t> </a:t>
            </a:r>
            <a:r>
              <a:rPr lang="en-GB" sz="2300" b="0" i="0" u="none" strike="noStrike" baseline="30000" dirty="0" err="1">
                <a:solidFill>
                  <a:srgbClr val="08082B"/>
                </a:solidFill>
                <a:latin typeface="Century Gothic" panose="020B0502020202020204" pitchFamily="34" charset="0"/>
              </a:rPr>
              <a:t>ilic</a:t>
            </a:r>
            <a:r>
              <a:rPr lang="en-GB" sz="2300" b="0" i="0" u="none" strike="noStrike" baseline="30000" dirty="0">
                <a:solidFill>
                  <a:srgbClr val="08082B"/>
                </a:solidFill>
                <a:latin typeface="Century Gothic" panose="020B0502020202020204" pitchFamily="34" charset="0"/>
              </a:rPr>
              <a:t> </a:t>
            </a:r>
            <a:r>
              <a:rPr lang="en-GB" sz="2300" b="0" i="0" u="none" strike="noStrike" baseline="30000" dirty="0" err="1">
                <a:solidFill>
                  <a:srgbClr val="08082B"/>
                </a:solidFill>
                <a:latin typeface="Century Gothic" panose="020B0502020202020204" pitchFamily="34" charset="0"/>
              </a:rPr>
              <a:t>tectatecab</a:t>
            </a:r>
            <a:r>
              <a:rPr lang="en-GB" sz="2300" b="0" i="0" u="none" strike="noStrike" baseline="30000" dirty="0">
                <a:solidFill>
                  <a:srgbClr val="08082B"/>
                </a:solidFill>
                <a:latin typeface="Century Gothic" panose="020B0502020202020204" pitchFamily="34" charset="0"/>
              </a:rPr>
              <a:t> in </a:t>
            </a:r>
            <a:r>
              <a:rPr lang="en-GB" sz="2300" b="0" i="0" u="none" strike="noStrike" baseline="30000" dirty="0" err="1">
                <a:solidFill>
                  <a:srgbClr val="08082B"/>
                </a:solidFill>
                <a:latin typeface="Century Gothic" panose="020B0502020202020204" pitchFamily="34" charset="0"/>
              </a:rPr>
              <a:t>eum</a:t>
            </a:r>
            <a:r>
              <a:rPr lang="en-GB" sz="2300" b="0" i="0" u="none" strike="noStrike" baseline="30000" dirty="0">
                <a:solidFill>
                  <a:srgbClr val="08082B"/>
                </a:solidFill>
                <a:latin typeface="Century Gothic" panose="020B0502020202020204" pitchFamily="34" charset="0"/>
              </a:rPr>
              <a:t> quid </a:t>
            </a:r>
            <a:r>
              <a:rPr lang="en-GB" sz="2300" b="0" i="0" u="none" strike="noStrike" baseline="30000" dirty="0" err="1">
                <a:solidFill>
                  <a:srgbClr val="08082B"/>
                </a:solidFill>
                <a:latin typeface="Century Gothic" panose="020B0502020202020204" pitchFamily="34" charset="0"/>
              </a:rPr>
              <a:t>experi</a:t>
            </a:r>
            <a:r>
              <a:rPr lang="en-GB" sz="2300" b="0" i="0" u="none" strike="noStrike" baseline="30000" dirty="0">
                <a:solidFill>
                  <a:srgbClr val="08082B"/>
                </a:solidFill>
                <a:latin typeface="Century Gothic" panose="020B0502020202020204" pitchFamily="34" charset="0"/>
              </a:rPr>
              <a:t> con </a:t>
            </a:r>
            <a:r>
              <a:rPr lang="en-GB" sz="2300" b="0" i="0" u="none" strike="noStrike" baseline="30000" dirty="0" err="1">
                <a:solidFill>
                  <a:srgbClr val="08082B"/>
                </a:solidFill>
                <a:latin typeface="Century Gothic" panose="020B0502020202020204" pitchFamily="34" charset="0"/>
              </a:rPr>
              <a:t>nulum</a:t>
            </a:r>
            <a:r>
              <a:rPr lang="en-GB" sz="2300" b="0" i="0" u="none" strike="noStrike" baseline="30000" dirty="0">
                <a:solidFill>
                  <a:srgbClr val="08082B"/>
                </a:solidFill>
                <a:latin typeface="Century Gothic" panose="020B0502020202020204" pitchFamily="34" charset="0"/>
              </a:rPr>
              <a:t> </a:t>
            </a:r>
            <a:r>
              <a:rPr lang="en-GB" sz="2300" b="0" i="0" u="none" strike="noStrike" baseline="30000" dirty="0" err="1">
                <a:solidFill>
                  <a:srgbClr val="08082B"/>
                </a:solidFill>
                <a:latin typeface="Century Gothic" panose="020B0502020202020204" pitchFamily="34" charset="0"/>
              </a:rPr>
              <a:t>ea</a:t>
            </a:r>
            <a:r>
              <a:rPr lang="en-GB" sz="2300" b="0" i="0" u="none" strike="noStrike" baseline="30000" dirty="0">
                <a:solidFill>
                  <a:srgbClr val="08082B"/>
                </a:solidFill>
                <a:latin typeface="Century Gothic" panose="020B0502020202020204" pitchFamily="34" charset="0"/>
              </a:rPr>
              <a:t> </a:t>
            </a:r>
            <a:br>
              <a:rPr lang="en-GB" sz="2300" b="0" i="0" u="none" strike="noStrike" baseline="30000" dirty="0">
                <a:solidFill>
                  <a:srgbClr val="08082B"/>
                </a:solidFill>
                <a:latin typeface="Century Gothic" panose="020B0502020202020204" pitchFamily="34" charset="0"/>
              </a:rPr>
            </a:br>
            <a:r>
              <a:rPr lang="en-GB" sz="2300" b="0" i="0" u="none" strike="noStrike" baseline="30000" dirty="0">
                <a:solidFill>
                  <a:srgbClr val="08082B"/>
                </a:solidFill>
                <a:latin typeface="Century Gothic" panose="020B0502020202020204" pitchFamily="34" charset="0"/>
              </a:rPr>
              <a:t>que </a:t>
            </a:r>
            <a:r>
              <a:rPr lang="en-GB" sz="2300" b="0" i="0" u="none" strike="noStrike" baseline="30000" dirty="0" err="1">
                <a:solidFill>
                  <a:srgbClr val="08082B"/>
                </a:solidFill>
                <a:latin typeface="Century Gothic" panose="020B0502020202020204" pitchFamily="34" charset="0"/>
              </a:rPr>
              <a:t>nos</a:t>
            </a:r>
            <a:r>
              <a:rPr lang="en-GB" sz="2300" b="0" i="0" u="none" strike="noStrike" baseline="30000" dirty="0">
                <a:solidFill>
                  <a:srgbClr val="08082B"/>
                </a:solidFill>
                <a:latin typeface="Century Gothic" panose="020B0502020202020204" pitchFamily="34" charset="0"/>
              </a:rPr>
              <a:t> </a:t>
            </a:r>
            <a:r>
              <a:rPr lang="en-GB" sz="2300" b="0" i="0" u="none" strike="noStrike" baseline="30000" dirty="0" err="1">
                <a:solidFill>
                  <a:srgbClr val="08082B"/>
                </a:solidFill>
                <a:latin typeface="Century Gothic" panose="020B0502020202020204" pitchFamily="34" charset="0"/>
              </a:rPr>
              <a:t>rerit</a:t>
            </a:r>
            <a:r>
              <a:rPr lang="en-GB" sz="2300" b="0" i="0" u="none" strike="noStrike" baseline="30000" dirty="0">
                <a:solidFill>
                  <a:srgbClr val="08082B"/>
                </a:solidFill>
                <a:latin typeface="Century Gothic" panose="020B0502020202020204" pitchFamily="34" charset="0"/>
              </a:rPr>
              <a:t> quid </a:t>
            </a:r>
            <a:r>
              <a:rPr lang="en-GB" sz="2300" b="0" i="0" u="none" strike="noStrike" baseline="30000" dirty="0" err="1">
                <a:solidFill>
                  <a:srgbClr val="08082B"/>
                </a:solidFill>
                <a:latin typeface="Century Gothic" panose="020B0502020202020204" pitchFamily="34" charset="0"/>
              </a:rPr>
              <a:t>quatur</a:t>
            </a:r>
            <a:r>
              <a:rPr lang="en-GB" sz="2300" b="0" i="0" u="none" strike="noStrike" baseline="30000" dirty="0">
                <a:solidFill>
                  <a:srgbClr val="08082B"/>
                </a:solidFill>
                <a:latin typeface="Century Gothic" panose="020B0502020202020204" pitchFamily="34" charset="0"/>
              </a:rPr>
              <a:t> </a:t>
            </a:r>
            <a:r>
              <a:rPr lang="en-GB" sz="2300" b="0" i="0" u="none" strike="noStrike" baseline="30000" dirty="0" err="1">
                <a:solidFill>
                  <a:srgbClr val="08082B"/>
                </a:solidFill>
                <a:latin typeface="Century Gothic" panose="020B0502020202020204" pitchFamily="34" charset="0"/>
              </a:rPr>
              <a:t>aut</a:t>
            </a:r>
            <a:r>
              <a:rPr lang="en-GB" sz="2300" b="0" i="0" u="none" strike="noStrike" baseline="30000" dirty="0">
                <a:solidFill>
                  <a:srgbClr val="08082B"/>
                </a:solidFill>
                <a:latin typeface="Century Gothic" panose="020B0502020202020204" pitchFamily="34" charset="0"/>
              </a:rPr>
              <a:t> </a:t>
            </a:r>
            <a:r>
              <a:rPr lang="en-GB" sz="2300" b="0" i="0" u="none" strike="noStrike" baseline="30000" dirty="0" err="1">
                <a:solidFill>
                  <a:srgbClr val="08082B"/>
                </a:solidFill>
                <a:latin typeface="Century Gothic" panose="020B0502020202020204" pitchFamily="34" charset="0"/>
              </a:rPr>
              <a:t>laborer</a:t>
            </a:r>
            <a:r>
              <a:rPr lang="en-GB" sz="2300" b="0" i="0" u="none" strike="noStrike" baseline="30000" dirty="0">
                <a:solidFill>
                  <a:srgbClr val="08082B"/>
                </a:solidFill>
                <a:latin typeface="Century Gothic" panose="020B0502020202020204" pitchFamily="34" charset="0"/>
              </a:rPr>
              <a:t> </a:t>
            </a:r>
            <a:r>
              <a:rPr lang="en-GB" sz="2300" b="0" i="0" u="none" strike="noStrike" baseline="30000" dirty="0" err="1">
                <a:solidFill>
                  <a:srgbClr val="08082B"/>
                </a:solidFill>
                <a:latin typeface="Century Gothic" panose="020B0502020202020204" pitchFamily="34" charset="0"/>
              </a:rPr>
              <a:t>oressec</a:t>
            </a:r>
            <a:r>
              <a:rPr lang="en-GB" sz="2300" b="0" i="0" u="none" strike="noStrike" baseline="30000" dirty="0">
                <a:solidFill>
                  <a:srgbClr val="08082B"/>
                </a:solidFill>
                <a:latin typeface="Century Gothic" panose="020B0502020202020204" pitchFamily="34" charset="0"/>
              </a:rPr>
              <a:t> </a:t>
            </a:r>
            <a:r>
              <a:rPr lang="en-GB" sz="2300" b="0" i="0" u="none" strike="noStrike" baseline="30000" dirty="0" err="1">
                <a:solidFill>
                  <a:srgbClr val="08082B"/>
                </a:solidFill>
                <a:latin typeface="Century Gothic" panose="020B0502020202020204" pitchFamily="34" charset="0"/>
              </a:rPr>
              <a:t>tatur</a:t>
            </a:r>
            <a:r>
              <a:rPr lang="en-GB" sz="2300" b="0" i="0" u="none" strike="noStrike" baseline="30000" dirty="0">
                <a:solidFill>
                  <a:srgbClr val="08082B"/>
                </a:solidFill>
                <a:latin typeface="Century Gothic" panose="020B0502020202020204" pitchFamily="34" charset="0"/>
              </a:rPr>
              <a:t>, sim </a:t>
            </a:r>
            <a:br>
              <a:rPr lang="en-GB" sz="2300" b="0" i="0" u="none" strike="noStrike" baseline="30000" dirty="0">
                <a:solidFill>
                  <a:srgbClr val="08082B"/>
                </a:solidFill>
                <a:latin typeface="Century Gothic" panose="020B0502020202020204" pitchFamily="34" charset="0"/>
              </a:rPr>
            </a:br>
            <a:r>
              <a:rPr lang="en-GB" sz="2300" b="0" i="0" u="none" strike="noStrike" baseline="30000" dirty="0">
                <a:solidFill>
                  <a:srgbClr val="08082B"/>
                </a:solidFill>
                <a:latin typeface="Century Gothic" panose="020B0502020202020204" pitchFamily="34" charset="0"/>
              </a:rPr>
              <a:t>que </a:t>
            </a:r>
            <a:r>
              <a:rPr lang="en-GB" sz="2300" b="0" i="0" u="none" strike="noStrike" baseline="30000" dirty="0" err="1">
                <a:solidFill>
                  <a:srgbClr val="08082B"/>
                </a:solidFill>
                <a:latin typeface="Century Gothic" panose="020B0502020202020204" pitchFamily="34" charset="0"/>
              </a:rPr>
              <a:t>soluptatet</a:t>
            </a:r>
            <a:r>
              <a:rPr lang="en-GB" sz="2300" b="0" i="0" u="none" strike="noStrike" baseline="30000" dirty="0">
                <a:solidFill>
                  <a:srgbClr val="08082B"/>
                </a:solidFill>
                <a:latin typeface="Century Gothic" panose="020B0502020202020204" pitchFamily="34" charset="0"/>
              </a:rPr>
              <a:t> </a:t>
            </a:r>
            <a:r>
              <a:rPr lang="en-GB" sz="2300" b="0" i="0" u="none" strike="noStrike" baseline="30000" dirty="0" err="1">
                <a:solidFill>
                  <a:srgbClr val="08082B"/>
                </a:solidFill>
                <a:latin typeface="Century Gothic" panose="020B0502020202020204" pitchFamily="34" charset="0"/>
              </a:rPr>
              <a:t>audantia</a:t>
            </a:r>
            <a:r>
              <a:rPr lang="en-GB" sz="2300" b="0" i="0" u="none" strike="noStrike" baseline="30000" dirty="0">
                <a:solidFill>
                  <a:srgbClr val="08082B"/>
                </a:solidFill>
                <a:latin typeface="Century Gothic" panose="020B0502020202020204" pitchFamily="34" charset="0"/>
              </a:rPr>
              <a:t> </a:t>
            </a:r>
            <a:r>
              <a:rPr lang="en-GB" sz="2300" b="0" i="0" u="none" strike="noStrike" baseline="30000" dirty="0" err="1">
                <a:solidFill>
                  <a:srgbClr val="08082B"/>
                </a:solidFill>
                <a:latin typeface="Century Gothic" panose="020B0502020202020204" pitchFamily="34" charset="0"/>
              </a:rPr>
              <a:t>ventur</a:t>
            </a:r>
            <a:r>
              <a:rPr lang="en-GB" sz="2300" b="0" i="0" u="none" strike="noStrike" baseline="30000" dirty="0">
                <a:solidFill>
                  <a:srgbClr val="08082B"/>
                </a:solidFill>
                <a:latin typeface="Century Gothic" panose="020B0502020202020204" pitchFamily="34" charset="0"/>
              </a:rPr>
              <a:t>? </a:t>
            </a:r>
            <a:r>
              <a:rPr lang="en-GB" sz="2300" b="0" i="0" u="none" strike="noStrike" baseline="30000" dirty="0" err="1">
                <a:solidFill>
                  <a:srgbClr val="08082B"/>
                </a:solidFill>
                <a:latin typeface="Century Gothic" panose="020B0502020202020204" pitchFamily="34" charset="0"/>
              </a:rPr>
              <a:t>Temporentis</a:t>
            </a:r>
            <a:r>
              <a:rPr lang="en-GB" sz="2300" b="0" i="0" u="none" strike="noStrike" baseline="30000" dirty="0">
                <a:solidFill>
                  <a:srgbClr val="08082B"/>
                </a:solidFill>
                <a:latin typeface="Century Gothic" panose="020B0502020202020204" pitchFamily="34" charset="0"/>
              </a:rPr>
              <a:t> sim </a:t>
            </a:r>
            <a:r>
              <a:rPr lang="en-GB" sz="2300" b="0" i="0" u="none" strike="noStrike" baseline="30000" dirty="0" err="1">
                <a:solidFill>
                  <a:srgbClr val="08082B"/>
                </a:solidFill>
                <a:latin typeface="Century Gothic" panose="020B0502020202020204" pitchFamily="34" charset="0"/>
              </a:rPr>
              <a:t>cus</a:t>
            </a:r>
            <a:r>
              <a:rPr lang="en-GB" sz="2300" b="0" i="0" u="none" strike="noStrike" baseline="30000" dirty="0">
                <a:solidFill>
                  <a:srgbClr val="08082B"/>
                </a:solidFill>
                <a:latin typeface="Century Gothic" panose="020B0502020202020204" pitchFamily="34" charset="0"/>
              </a:rPr>
              <a:t>, </a:t>
            </a:r>
            <a:br>
              <a:rPr lang="en-GB" sz="2300" b="0" i="0" u="none" strike="noStrike" baseline="30000" dirty="0">
                <a:solidFill>
                  <a:srgbClr val="08082B"/>
                </a:solidFill>
                <a:latin typeface="Century Gothic" panose="020B0502020202020204" pitchFamily="34" charset="0"/>
              </a:rPr>
            </a:br>
            <a:r>
              <a:rPr lang="en-GB" sz="2300" b="0" i="0" u="none" strike="noStrike" baseline="30000" dirty="0" err="1">
                <a:solidFill>
                  <a:srgbClr val="08082B"/>
                </a:solidFill>
                <a:latin typeface="Century Gothic" panose="020B0502020202020204" pitchFamily="34" charset="0"/>
              </a:rPr>
              <a:t>volesti</a:t>
            </a:r>
            <a:r>
              <a:rPr lang="en-GB" sz="2300" b="0" i="0" u="none" strike="noStrike" baseline="30000" dirty="0">
                <a:solidFill>
                  <a:srgbClr val="08082B"/>
                </a:solidFill>
                <a:latin typeface="Century Gothic" panose="020B0502020202020204" pitchFamily="34" charset="0"/>
              </a:rPr>
              <a:t> </a:t>
            </a:r>
            <a:r>
              <a:rPr lang="en-GB" sz="2300" b="0" i="0" u="none" strike="noStrike" baseline="30000" dirty="0" err="1">
                <a:solidFill>
                  <a:srgbClr val="08082B"/>
                </a:solidFill>
                <a:latin typeface="Century Gothic" panose="020B0502020202020204" pitchFamily="34" charset="0"/>
              </a:rPr>
              <a:t>comni</a:t>
            </a:r>
            <a:r>
              <a:rPr lang="en-GB" sz="2300" b="0" i="0" u="none" strike="noStrike" baseline="30000" dirty="0">
                <a:solidFill>
                  <a:srgbClr val="08082B"/>
                </a:solidFill>
                <a:latin typeface="Century Gothic" panose="020B0502020202020204" pitchFamily="34" charset="0"/>
              </a:rPr>
              <a:t> test ped et </a:t>
            </a:r>
            <a:r>
              <a:rPr lang="en-GB" sz="2300" b="0" i="0" u="none" strike="noStrike" baseline="30000" dirty="0" err="1">
                <a:solidFill>
                  <a:srgbClr val="08082B"/>
                </a:solidFill>
                <a:latin typeface="Century Gothic" panose="020B0502020202020204" pitchFamily="34" charset="0"/>
              </a:rPr>
              <a:t>ut</a:t>
            </a:r>
            <a:r>
              <a:rPr lang="en-GB" sz="2300" b="0" i="0" u="none" strike="noStrike" baseline="30000" dirty="0">
                <a:solidFill>
                  <a:srgbClr val="08082B"/>
                </a:solidFill>
                <a:latin typeface="Century Gothic" panose="020B0502020202020204" pitchFamily="34" charset="0"/>
              </a:rPr>
              <a:t> </a:t>
            </a:r>
            <a:r>
              <a:rPr lang="en-GB" sz="2300" b="0" i="0" u="none" strike="noStrike" baseline="30000" dirty="0" err="1">
                <a:solidFill>
                  <a:srgbClr val="08082B"/>
                </a:solidFill>
                <a:latin typeface="Century Gothic" panose="020B0502020202020204" pitchFamily="34" charset="0"/>
              </a:rPr>
              <a:t>officature</a:t>
            </a:r>
            <a:r>
              <a:rPr lang="en-GB" sz="2300" b="0" i="0" u="none" strike="noStrike" baseline="30000" dirty="0">
                <a:solidFill>
                  <a:srgbClr val="08082B"/>
                </a:solidFill>
                <a:latin typeface="Century Gothic" panose="020B0502020202020204" pitchFamily="34" charset="0"/>
              </a:rPr>
              <a:t> ne </a:t>
            </a:r>
            <a:r>
              <a:rPr lang="en-GB" sz="2300" b="0" i="0" u="none" strike="noStrike" baseline="30000" dirty="0" err="1">
                <a:solidFill>
                  <a:srgbClr val="08082B"/>
                </a:solidFill>
                <a:latin typeface="Century Gothic" panose="020B0502020202020204" pitchFamily="34" charset="0"/>
              </a:rPr>
              <a:t>quis</a:t>
            </a:r>
            <a:r>
              <a:rPr lang="en-GB" sz="2300" b="0" i="0" u="none" strike="noStrike" baseline="30000" dirty="0">
                <a:solidFill>
                  <a:srgbClr val="08082B"/>
                </a:solidFill>
                <a:latin typeface="Century Gothic" panose="020B0502020202020204" pitchFamily="34" charset="0"/>
              </a:rPr>
              <a:t> am </a:t>
            </a:r>
            <a:r>
              <a:rPr lang="en-GB" sz="2300" b="0" i="0" u="none" strike="noStrike" baseline="30000" dirty="0" err="1">
                <a:solidFill>
                  <a:srgbClr val="08082B"/>
                </a:solidFill>
                <a:latin typeface="Century Gothic" panose="020B0502020202020204" pitchFamily="34" charset="0"/>
              </a:rPr>
              <a:t>aut</a:t>
            </a:r>
            <a:r>
              <a:rPr lang="en-GB" sz="2300" b="0" i="0" u="none" strike="noStrike" baseline="30000" dirty="0">
                <a:solidFill>
                  <a:srgbClr val="08082B"/>
                </a:solidFill>
                <a:latin typeface="Century Gothic" panose="020B0502020202020204" pitchFamily="34" charset="0"/>
              </a:rPr>
              <a:t> </a:t>
            </a:r>
            <a:r>
              <a:rPr lang="en-GB" sz="2300" b="0" i="0" u="none" strike="noStrike" baseline="30000" dirty="0" err="1">
                <a:solidFill>
                  <a:srgbClr val="08082B"/>
                </a:solidFill>
                <a:latin typeface="Century Gothic" panose="020B0502020202020204" pitchFamily="34" charset="0"/>
              </a:rPr>
              <a:t>aut</a:t>
            </a:r>
            <a:r>
              <a:rPr lang="en-GB" sz="2300" b="0" i="0" u="none" strike="noStrike" baseline="30000" dirty="0">
                <a:solidFill>
                  <a:srgbClr val="08082B"/>
                </a:solidFill>
                <a:latin typeface="Century Gothic" panose="020B0502020202020204" pitchFamily="34" charset="0"/>
              </a:rPr>
              <a:t> </a:t>
            </a:r>
            <a:br>
              <a:rPr lang="en-GB" sz="2300" b="0" i="0" u="none" strike="noStrike" baseline="30000" dirty="0">
                <a:solidFill>
                  <a:srgbClr val="08082B"/>
                </a:solidFill>
                <a:latin typeface="Century Gothic" panose="020B0502020202020204" pitchFamily="34" charset="0"/>
              </a:rPr>
            </a:br>
            <a:r>
              <a:rPr lang="en-GB" sz="2300" b="0" i="0" u="none" strike="noStrike" baseline="30000" dirty="0">
                <a:solidFill>
                  <a:srgbClr val="08082B"/>
                </a:solidFill>
                <a:latin typeface="Century Gothic" panose="020B0502020202020204" pitchFamily="34" charset="0"/>
              </a:rPr>
              <a:t>et es de </a:t>
            </a:r>
            <a:r>
              <a:rPr lang="en-GB" sz="2300" b="0" i="0" u="none" strike="noStrike" baseline="30000" dirty="0" err="1">
                <a:solidFill>
                  <a:srgbClr val="08082B"/>
                </a:solidFill>
                <a:latin typeface="Century Gothic" panose="020B0502020202020204" pitchFamily="34" charset="0"/>
              </a:rPr>
              <a:t>providi</a:t>
            </a:r>
            <a:r>
              <a:rPr lang="en-GB" sz="2300" b="0" i="0" u="none" strike="noStrike" baseline="30000" dirty="0">
                <a:solidFill>
                  <a:srgbClr val="08082B"/>
                </a:solidFill>
                <a:latin typeface="Century Gothic" panose="020B0502020202020204" pitchFamily="34" charset="0"/>
              </a:rPr>
              <a:t> </a:t>
            </a:r>
            <a:r>
              <a:rPr lang="en-GB" sz="2300" b="0" i="0" u="none" strike="noStrike" baseline="30000" dirty="0" err="1">
                <a:solidFill>
                  <a:srgbClr val="08082B"/>
                </a:solidFill>
                <a:latin typeface="Century Gothic" panose="020B0502020202020204" pitchFamily="34" charset="0"/>
              </a:rPr>
              <a:t>aut</a:t>
            </a:r>
            <a:r>
              <a:rPr lang="en-GB" sz="2300" b="0" i="0" u="none" strike="noStrike" baseline="30000" dirty="0">
                <a:solidFill>
                  <a:srgbClr val="08082B"/>
                </a:solidFill>
                <a:latin typeface="Century Gothic" panose="020B0502020202020204" pitchFamily="34" charset="0"/>
              </a:rPr>
              <a:t> </a:t>
            </a:r>
            <a:r>
              <a:rPr lang="en-GB" sz="2300" b="0" i="0" u="none" strike="noStrike" baseline="30000" dirty="0" err="1">
                <a:solidFill>
                  <a:srgbClr val="08082B"/>
                </a:solidFill>
                <a:latin typeface="Century Gothic" panose="020B0502020202020204" pitchFamily="34" charset="0"/>
              </a:rPr>
              <a:t>fugia</a:t>
            </a:r>
            <a:r>
              <a:rPr lang="en-GB" sz="2300" b="0" i="0" u="none" strike="noStrike" baseline="30000" dirty="0">
                <a:solidFill>
                  <a:srgbClr val="08082B"/>
                </a:solidFill>
                <a:latin typeface="Century Gothic" panose="020B0502020202020204" pitchFamily="34" charset="0"/>
              </a:rPr>
              <a:t> </a:t>
            </a:r>
            <a:r>
              <a:rPr lang="en-GB" sz="2300" b="0" i="0" u="none" strike="noStrike" baseline="30000" dirty="0" err="1">
                <a:solidFill>
                  <a:srgbClr val="08082B"/>
                </a:solidFill>
                <a:latin typeface="Century Gothic" panose="020B0502020202020204" pitchFamily="34" charset="0"/>
              </a:rPr>
              <a:t>dolo</a:t>
            </a:r>
            <a:r>
              <a:rPr lang="en-GB" sz="2300" b="0" i="0" u="none" strike="noStrike" baseline="30000" dirty="0">
                <a:solidFill>
                  <a:srgbClr val="08082B"/>
                </a:solidFill>
                <a:latin typeface="Century Gothic" panose="020B0502020202020204" pitchFamily="34" charset="0"/>
              </a:rPr>
              <a:t> </a:t>
            </a:r>
            <a:r>
              <a:rPr lang="en-GB" sz="2300" b="0" i="0" u="none" strike="noStrike" baseline="30000" dirty="0" err="1">
                <a:solidFill>
                  <a:srgbClr val="08082B"/>
                </a:solidFill>
                <a:latin typeface="Century Gothic" panose="020B0502020202020204" pitchFamily="34" charset="0"/>
              </a:rPr>
              <a:t>excersp</a:t>
            </a:r>
            <a:r>
              <a:rPr lang="en-GB" sz="2300" b="0" i="0" u="none" strike="noStrike" baseline="30000" dirty="0">
                <a:solidFill>
                  <a:srgbClr val="08082B"/>
                </a:solidFill>
                <a:latin typeface="Century Gothic" panose="020B0502020202020204" pitchFamily="34" charset="0"/>
              </a:rPr>
              <a:t> </a:t>
            </a:r>
            <a:r>
              <a:rPr lang="en-GB" sz="2300" b="0" i="0" u="none" strike="noStrike" baseline="30000" dirty="0" err="1">
                <a:solidFill>
                  <a:srgbClr val="08082B"/>
                </a:solidFill>
                <a:latin typeface="Century Gothic" panose="020B0502020202020204" pitchFamily="34" charset="0"/>
              </a:rPr>
              <a:t>eritia</a:t>
            </a:r>
            <a:r>
              <a:rPr lang="en-GB" sz="2300" b="0" i="0" u="none" strike="noStrike" baseline="30000" dirty="0">
                <a:solidFill>
                  <a:srgbClr val="08082B"/>
                </a:solidFill>
                <a:latin typeface="Century Gothic" panose="020B0502020202020204" pitchFamily="34" charset="0"/>
              </a:rPr>
              <a:t> </a:t>
            </a:r>
            <a:r>
              <a:rPr lang="en-GB" sz="2300" b="0" i="0" u="none" strike="noStrike" baseline="30000" dirty="0" err="1">
                <a:solidFill>
                  <a:srgbClr val="08082B"/>
                </a:solidFill>
                <a:latin typeface="Century Gothic" panose="020B0502020202020204" pitchFamily="34" charset="0"/>
              </a:rPr>
              <a:t>voluptaerum</a:t>
            </a:r>
            <a:endParaRPr lang="fr-CA" dirty="0"/>
          </a:p>
        </p:txBody>
      </p:sp>
      <p:sp>
        <p:nvSpPr>
          <p:cNvPr id="17" name="Espace réservé du contenu 16">
            <a:extLst>
              <a:ext uri="{FF2B5EF4-FFF2-40B4-BE49-F238E27FC236}">
                <a16:creationId xmlns:a16="http://schemas.microsoft.com/office/drawing/2014/main" id="{06E14FE5-B3E7-415C-ABAD-0A0FB498390E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877044" y="1054100"/>
            <a:ext cx="4716488" cy="5112568"/>
          </a:xfrm>
        </p:spPr>
        <p:txBody>
          <a:bodyPr anchor="t" anchorCtr="0"/>
          <a:lstStyle>
            <a:lvl1pPr algn="l">
              <a:defRPr sz="4000">
                <a:solidFill>
                  <a:srgbClr val="07072B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fr-CA" dirty="0"/>
              <a:t>Page de texte avec long titre </a:t>
            </a:r>
            <a:r>
              <a:rPr lang="fr-CA" dirty="0" err="1"/>
              <a:t>lorem</a:t>
            </a:r>
            <a:r>
              <a:rPr lang="fr-CA" dirty="0"/>
              <a:t> </a:t>
            </a:r>
            <a:r>
              <a:rPr lang="fr-CA" dirty="0" err="1"/>
              <a:t>ipsumtua</a:t>
            </a:r>
            <a:r>
              <a:rPr lang="fr-CA" dirty="0"/>
              <a:t> </a:t>
            </a:r>
            <a:r>
              <a:rPr lang="fr-CA" dirty="0" err="1"/>
              <a:t>dolor</a:t>
            </a:r>
            <a:r>
              <a:rPr lang="fr-CA" dirty="0"/>
              <a:t> </a:t>
            </a:r>
            <a:r>
              <a:rPr lang="fr-CA" dirty="0" err="1"/>
              <a:t>sit</a:t>
            </a:r>
            <a:r>
              <a:rPr lang="fr-CA" dirty="0"/>
              <a:t> </a:t>
            </a:r>
          </a:p>
          <a:p>
            <a:pPr lvl="0"/>
            <a:r>
              <a:rPr lang="fr-CA" dirty="0" err="1"/>
              <a:t>consectetur</a:t>
            </a:r>
            <a:r>
              <a:rPr lang="fr-CA" dirty="0"/>
              <a:t> </a:t>
            </a:r>
            <a:r>
              <a:rPr lang="fr-CA" dirty="0" err="1"/>
              <a:t>adipiscing</a:t>
            </a:r>
            <a:r>
              <a:rPr lang="fr-CA" dirty="0"/>
              <a:t> </a:t>
            </a:r>
            <a:r>
              <a:rPr lang="fr-CA" dirty="0" err="1"/>
              <a:t>elit</a:t>
            </a:r>
            <a:r>
              <a:rPr lang="fr-CA" dirty="0"/>
              <a:t>.</a:t>
            </a:r>
          </a:p>
        </p:txBody>
      </p:sp>
      <p:sp>
        <p:nvSpPr>
          <p:cNvPr id="27" name="Espace réservé du numéro de diapositive 26">
            <a:extLst>
              <a:ext uri="{FF2B5EF4-FFF2-40B4-BE49-F238E27FC236}">
                <a16:creationId xmlns:a16="http://schemas.microsoft.com/office/drawing/2014/main" id="{2DEBE434-B189-41F7-9989-933C9601248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11570195" y="6454130"/>
            <a:ext cx="539750" cy="335892"/>
          </a:xfrm>
          <a:prstGeom prst="rect">
            <a:avLst/>
          </a:prstGeom>
        </p:spPr>
        <p:txBody>
          <a:bodyPr lIns="91434" tIns="45717" rIns="91434" bIns="45717" anchor="b" anchorCtr="0"/>
          <a:lstStyle>
            <a:lvl1pPr>
              <a:defRPr sz="800">
                <a:solidFill>
                  <a:srgbClr val="07072B"/>
                </a:solidFill>
                <a:latin typeface="Century Gothic" panose="020B0502020202020204" pitchFamily="34" charset="0"/>
              </a:defRPr>
            </a:lvl1pPr>
          </a:lstStyle>
          <a:p>
            <a:pPr algn="r">
              <a:defRPr/>
            </a:pPr>
            <a:fld id="{89AA4CF2-98ED-4480-867D-4533B78D23B5}" type="slidenum">
              <a:rPr lang="fr-CA" altLang="fr-FR" smtClean="0"/>
              <a:pPr algn="r">
                <a:defRPr/>
              </a:pPr>
              <a:t>‹#›</a:t>
            </a:fld>
            <a:endParaRPr lang="fr-CA" altLang="fr-FR" dirty="0"/>
          </a:p>
        </p:txBody>
      </p:sp>
      <p:sp>
        <p:nvSpPr>
          <p:cNvPr id="14" name="Espace réservé du texte 8">
            <a:extLst>
              <a:ext uri="{FF2B5EF4-FFF2-40B4-BE49-F238E27FC236}">
                <a16:creationId xmlns:a16="http://schemas.microsoft.com/office/drawing/2014/main" id="{189C0C48-B8C4-4624-9783-FF3D0CE0145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92931" y="237296"/>
            <a:ext cx="7488832" cy="432047"/>
          </a:xfrm>
        </p:spPr>
        <p:txBody>
          <a:bodyPr anchor="b" anchorCtr="0"/>
          <a:lstStyle>
            <a:lvl1pPr>
              <a:defRPr sz="2400">
                <a:solidFill>
                  <a:srgbClr val="07072B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fr-CA" dirty="0"/>
              <a:t>Titre de slide</a:t>
            </a:r>
          </a:p>
        </p:txBody>
      </p:sp>
    </p:spTree>
    <p:extLst>
      <p:ext uri="{BB962C8B-B14F-4D97-AF65-F5344CB8AC3E}">
        <p14:creationId xmlns:p14="http://schemas.microsoft.com/office/powerpoint/2010/main" val="269568238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ge texte avec puces">
    <p:bg>
      <p:bgPr>
        <a:solidFill>
          <a:srgbClr val="07072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Objet 8" hidden="1"/>
          <p:cNvPicPr>
            <a:picLocks noChangeAspect="1" noChangeArrowheads="1"/>
          </p:cNvPicPr>
          <p:nvPr userDrawn="1">
            <p:custDataLst>
              <p:tags r:id="rId1"/>
            </p:custDataLst>
          </p:nvPr>
        </p:nvPicPr>
        <p:blipFill>
          <a:blip r:embed="rId4"/>
          <a:srcRect/>
          <a:stretch>
            <a:fillRect/>
          </a:stretch>
        </p:blipFill>
        <p:spPr bwMode="auto">
          <a:xfrm>
            <a:off x="1588" y="1588"/>
            <a:ext cx="1587" cy="1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Rectangle 4" hidden="1"/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0" y="1"/>
            <a:ext cx="158751" cy="158750"/>
          </a:xfrm>
          <a:prstGeom prst="rect">
            <a:avLst/>
          </a:prstGeom>
          <a:noFill/>
          <a:ln w="9525">
            <a:solidFill>
              <a:schemeClr val="tx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lIns="0" tIns="0" rIns="0" bIns="0" anchor="ctr"/>
          <a:lstStyle>
            <a:lvl1pPr>
              <a:defRPr sz="24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defTabSz="1217613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defTabSz="1217613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defTabSz="1217613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defTabSz="1217613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eaLnBrk="1" hangingPunct="1">
              <a:lnSpc>
                <a:spcPct val="90000"/>
              </a:lnSpc>
              <a:defRPr/>
            </a:pPr>
            <a:endParaRPr lang="fr-FR" altLang="fr-FR" sz="3600" dirty="0">
              <a:sym typeface="Calibri" pitchFamily="34" charset="0"/>
            </a:endParaRPr>
          </a:p>
        </p:txBody>
      </p:sp>
      <p:pic>
        <p:nvPicPr>
          <p:cNvPr id="7" name="Objet 6"/>
          <p:cNvPicPr>
            <a:picLocks noChangeAspect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1589" y="1588"/>
            <a:ext cx="3175" cy="1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Objet 4"/>
          <p:cNvSpPr>
            <a:spLocks noChangeAspect="1"/>
          </p:cNvSpPr>
          <p:nvPr/>
        </p:nvSpPr>
        <p:spPr bwMode="auto">
          <a:xfrm>
            <a:off x="1589" y="1588"/>
            <a:ext cx="3175" cy="1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34" tIns="45717" rIns="91434" bIns="45717"/>
          <a:lstStyle/>
          <a:p>
            <a:endParaRPr lang="fr-CA" altLang="fr-FR" dirty="0"/>
          </a:p>
        </p:txBody>
      </p:sp>
      <p:sp>
        <p:nvSpPr>
          <p:cNvPr id="16" name="Espace réservé du contenu 16">
            <a:extLst>
              <a:ext uri="{FF2B5EF4-FFF2-40B4-BE49-F238E27FC236}">
                <a16:creationId xmlns:a16="http://schemas.microsoft.com/office/drawing/2014/main" id="{ADB75988-1980-472F-B459-07D4CC718FB9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877043" y="1054101"/>
            <a:ext cx="7740825" cy="935534"/>
          </a:xfrm>
        </p:spPr>
        <p:txBody>
          <a:bodyPr anchor="t" anchorCtr="0"/>
          <a:lstStyle>
            <a:lvl1pPr algn="l">
              <a:defRPr sz="400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fr-CA" dirty="0"/>
              <a:t>Page de texte avec puces.</a:t>
            </a:r>
          </a:p>
        </p:txBody>
      </p:sp>
      <p:sp>
        <p:nvSpPr>
          <p:cNvPr id="17" name="Espace réservé du numéro de diapositive 26">
            <a:extLst>
              <a:ext uri="{FF2B5EF4-FFF2-40B4-BE49-F238E27FC236}">
                <a16:creationId xmlns:a16="http://schemas.microsoft.com/office/drawing/2014/main" id="{23BC13EC-0FA4-4E05-B653-5BA418936C8D}"/>
              </a:ext>
            </a:extLst>
          </p:cNvPr>
          <p:cNvSpPr txBox="1">
            <a:spLocks/>
          </p:cNvSpPr>
          <p:nvPr userDrawn="1"/>
        </p:nvSpPr>
        <p:spPr>
          <a:xfrm>
            <a:off x="11570195" y="6454130"/>
            <a:ext cx="539750" cy="335892"/>
          </a:xfrm>
          <a:prstGeom prst="rect">
            <a:avLst/>
          </a:prstGeom>
        </p:spPr>
        <p:txBody>
          <a:bodyPr vert="horz" wrap="square" lIns="120902" tIns="60451" rIns="120902" bIns="60451" numCol="1" anchor="b" anchorCtr="0" compatLnSpc="1">
            <a:prstTxWarp prst="textNoShape">
              <a:avLst/>
            </a:prstTxWarp>
            <a:noAutofit/>
          </a:bodyPr>
          <a:lstStyle>
            <a:defPPr>
              <a:defRPr lang="fr-FR"/>
            </a:defPPr>
            <a:lvl1pPr algn="l" defTabSz="681038" rtl="0" eaLnBrk="1" fontAlgn="base" hangingPunct="1">
              <a:spcBef>
                <a:spcPct val="0"/>
              </a:spcBef>
              <a:spcAft>
                <a:spcPct val="0"/>
              </a:spcAft>
              <a:defRPr sz="800" kern="1200">
                <a:solidFill>
                  <a:srgbClr val="07072B"/>
                </a:solidFill>
                <a:latin typeface="Century Gothic" panose="020B0502020202020204" pitchFamily="34" charset="0"/>
                <a:ea typeface="+mn-ea"/>
                <a:cs typeface="Arial" panose="020B0604020202020204" pitchFamily="34" charset="0"/>
              </a:defRPr>
            </a:lvl1pPr>
            <a:lvl2pPr marL="608013" indent="-150813" algn="l" defTabSz="1217613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2pPr>
            <a:lvl3pPr marL="1217613" indent="-303213" algn="l" defTabSz="1217613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3pPr>
            <a:lvl4pPr marL="1827213" indent="-455613" algn="l" defTabSz="1217613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4pPr>
            <a:lvl5pPr marL="2436813" indent="-608013" algn="l" defTabSz="1217613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9pPr>
          </a:lstStyle>
          <a:p>
            <a:pPr algn="r">
              <a:defRPr/>
            </a:pPr>
            <a:fld id="{89AA4CF2-98ED-4480-867D-4533B78D23B5}" type="slidenum">
              <a:rPr lang="fr-CA" altLang="fr-FR" smtClean="0">
                <a:solidFill>
                  <a:srgbClr val="B1BFD3"/>
                </a:solidFill>
              </a:rPr>
              <a:pPr algn="r">
                <a:defRPr/>
              </a:pPr>
              <a:t>‹#›</a:t>
            </a:fld>
            <a:endParaRPr lang="fr-CA" altLang="fr-FR" dirty="0">
              <a:solidFill>
                <a:srgbClr val="B1BFD3"/>
              </a:solidFill>
            </a:endParaRPr>
          </a:p>
        </p:txBody>
      </p:sp>
      <p:sp>
        <p:nvSpPr>
          <p:cNvPr id="18" name="Espace réservé du texte 17">
            <a:extLst>
              <a:ext uri="{FF2B5EF4-FFF2-40B4-BE49-F238E27FC236}">
                <a16:creationId xmlns:a16="http://schemas.microsoft.com/office/drawing/2014/main" id="{20E2B392-4C65-4DA9-B5A6-3A26FE64858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1128464" y="2997748"/>
            <a:ext cx="4537075" cy="503585"/>
          </a:xfrm>
        </p:spPr>
        <p:txBody>
          <a:bodyPr/>
          <a:lstStyle>
            <a:lvl1pPr marL="0" indent="0">
              <a:buClr>
                <a:srgbClr val="FF9A00"/>
              </a:buClr>
              <a:buSzPct val="350000"/>
              <a:buFontTx/>
              <a:buNone/>
              <a:defRPr sz="900" b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 marL="300017" indent="-273032">
              <a:buClr>
                <a:srgbClr val="FFC000"/>
              </a:buClr>
              <a:buFont typeface="Arial" panose="020B0604020202020204" pitchFamily="34" charset="0"/>
              <a:buChar char="•"/>
              <a:defRPr sz="900"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 marL="1111176" indent="-300017">
              <a:buClr>
                <a:srgbClr val="FFC000"/>
              </a:buClr>
              <a:buFont typeface="Arial" panose="020B0604020202020204" pitchFamily="34" charset="0"/>
              <a:buChar char="•"/>
              <a:defRPr sz="900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 marL="1498500" indent="-300017">
              <a:buClr>
                <a:srgbClr val="FFC000"/>
              </a:buClr>
              <a:buFont typeface="Arial" panose="020B0604020202020204" pitchFamily="34" charset="0"/>
              <a:buChar char="•"/>
              <a:defRPr sz="900"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 marL="2001704" indent="-296843">
              <a:buClr>
                <a:srgbClr val="FFC000"/>
              </a:buClr>
              <a:buFont typeface="Arial" panose="020B0604020202020204" pitchFamily="34" charset="0"/>
              <a:buChar char="•"/>
              <a:defRPr sz="900">
                <a:solidFill>
                  <a:schemeClr val="bg1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9" name="Espace réservé du texte 17">
            <a:extLst>
              <a:ext uri="{FF2B5EF4-FFF2-40B4-BE49-F238E27FC236}">
                <a16:creationId xmlns:a16="http://schemas.microsoft.com/office/drawing/2014/main" id="{87E7B1C2-003E-4C0D-AD09-190D48826D1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310064" y="2997748"/>
            <a:ext cx="4537075" cy="503585"/>
          </a:xfrm>
        </p:spPr>
        <p:txBody>
          <a:bodyPr/>
          <a:lstStyle>
            <a:lvl1pPr marL="0" indent="0">
              <a:buClr>
                <a:srgbClr val="FF9A00"/>
              </a:buClr>
              <a:buSzPct val="350000"/>
              <a:buFontTx/>
              <a:buNone/>
              <a:defRPr sz="900" b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 marL="300017" indent="-273032">
              <a:buClr>
                <a:srgbClr val="FFC000"/>
              </a:buClr>
              <a:buFont typeface="Arial" panose="020B0604020202020204" pitchFamily="34" charset="0"/>
              <a:buChar char="•"/>
              <a:defRPr sz="900"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 marL="1111176" indent="-300017">
              <a:buClr>
                <a:srgbClr val="FFC000"/>
              </a:buClr>
              <a:buFont typeface="Arial" panose="020B0604020202020204" pitchFamily="34" charset="0"/>
              <a:buChar char="•"/>
              <a:defRPr sz="900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 marL="1498500" indent="-300017">
              <a:buClr>
                <a:srgbClr val="FFC000"/>
              </a:buClr>
              <a:buFont typeface="Arial" panose="020B0604020202020204" pitchFamily="34" charset="0"/>
              <a:buChar char="•"/>
              <a:defRPr sz="900"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 marL="2001704" indent="-296843">
              <a:buClr>
                <a:srgbClr val="FFC000"/>
              </a:buClr>
              <a:buFont typeface="Arial" panose="020B0604020202020204" pitchFamily="34" charset="0"/>
              <a:buChar char="•"/>
              <a:defRPr sz="900">
                <a:solidFill>
                  <a:schemeClr val="bg1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3" name="Espace réservé du texte 8">
            <a:extLst>
              <a:ext uri="{FF2B5EF4-FFF2-40B4-BE49-F238E27FC236}">
                <a16:creationId xmlns:a16="http://schemas.microsoft.com/office/drawing/2014/main" id="{BBBEBDBF-BDE4-4F1A-A664-545667965C5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92931" y="237296"/>
            <a:ext cx="7488832" cy="432047"/>
          </a:xfrm>
        </p:spPr>
        <p:txBody>
          <a:bodyPr anchor="b" anchorCtr="0"/>
          <a:lstStyle>
            <a:lvl1pPr>
              <a:defRPr sz="2400">
                <a:solidFill>
                  <a:srgbClr val="B3C3D8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fr-CA" dirty="0"/>
              <a:t>Titre de slide</a:t>
            </a:r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image" Target="../media/image3.emf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2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6.xml"/><Relationship Id="rId13" Type="http://schemas.openxmlformats.org/officeDocument/2006/relationships/image" Target="../media/image3.emf"/><Relationship Id="rId3" Type="http://schemas.openxmlformats.org/officeDocument/2006/relationships/slideLayout" Target="../slideLayouts/slideLayout21.xml"/><Relationship Id="rId7" Type="http://schemas.openxmlformats.org/officeDocument/2006/relationships/theme" Target="../theme/theme2.xml"/><Relationship Id="rId12" Type="http://schemas.openxmlformats.org/officeDocument/2006/relationships/image" Target="../media/image2.emf"/><Relationship Id="rId2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9.xml"/><Relationship Id="rId6" Type="http://schemas.openxmlformats.org/officeDocument/2006/relationships/slideLayout" Target="../slideLayouts/slideLayout24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23.xml"/><Relationship Id="rId10" Type="http://schemas.openxmlformats.org/officeDocument/2006/relationships/oleObject" Target="../embeddings/oleObject2.bin"/><Relationship Id="rId4" Type="http://schemas.openxmlformats.org/officeDocument/2006/relationships/slideLayout" Target="../slideLayouts/slideLayout22.xml"/><Relationship Id="rId9" Type="http://schemas.openxmlformats.org/officeDocument/2006/relationships/tags" Target="../tags/tag7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8.xml"/><Relationship Id="rId7" Type="http://schemas.openxmlformats.org/officeDocument/2006/relationships/image" Target="../media/image2.emf"/><Relationship Id="rId2" Type="http://schemas.openxmlformats.org/officeDocument/2006/relationships/theme" Target="../theme/theme3.xml"/><Relationship Id="rId1" Type="http://schemas.openxmlformats.org/officeDocument/2006/relationships/slideLayout" Target="../slideLayouts/slideLayout25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tags" Target="../tags/tag9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heme" Target="../theme/theme4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27.xml"/><Relationship Id="rId1" Type="http://schemas.openxmlformats.org/officeDocument/2006/relationships/slideLayout" Target="../slideLayouts/slideLayout26.xml"/><Relationship Id="rId6" Type="http://schemas.openxmlformats.org/officeDocument/2006/relationships/oleObject" Target="../embeddings/oleObject4.bin"/><Relationship Id="rId5" Type="http://schemas.openxmlformats.org/officeDocument/2006/relationships/tags" Target="../tags/tag11.xml"/><Relationship Id="rId4" Type="http://schemas.openxmlformats.org/officeDocument/2006/relationships/tags" Target="../tags/tag10.xml"/><Relationship Id="rId9" Type="http://schemas.openxmlformats.org/officeDocument/2006/relationships/image" Target="../media/image3.emf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12.xml"/><Relationship Id="rId7" Type="http://schemas.openxmlformats.org/officeDocument/2006/relationships/image" Target="../media/image2.emf"/><Relationship Id="rId2" Type="http://schemas.openxmlformats.org/officeDocument/2006/relationships/theme" Target="../theme/theme5.xml"/><Relationship Id="rId1" Type="http://schemas.openxmlformats.org/officeDocument/2006/relationships/slideLayout" Target="../slideLayouts/slideLayout28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tags" Target="../tags/tag13.xml"/></Relationships>
</file>

<file path=ppt/slideMasters/_rels/slideMaster6.xml.rels><?xml version="1.0" encoding="UTF-8" standalone="yes"?>
<Relationships xmlns="http://schemas.openxmlformats.org/package/2006/relationships"><Relationship Id="rId3" Type="http://schemas.openxmlformats.org/officeDocument/2006/relationships/tags" Target="../tags/tag14.xml"/><Relationship Id="rId2" Type="http://schemas.openxmlformats.org/officeDocument/2006/relationships/theme" Target="../theme/theme6.xml"/><Relationship Id="rId1" Type="http://schemas.openxmlformats.org/officeDocument/2006/relationships/slideLayout" Target="../slideLayouts/slideLayout29.xml"/><Relationship Id="rId5" Type="http://schemas.openxmlformats.org/officeDocument/2006/relationships/image" Target="../media/image3.emf"/><Relationship Id="rId4" Type="http://schemas.openxmlformats.org/officeDocument/2006/relationships/image" Target="../media/image2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07072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t 8" hidden="1"/>
          <p:cNvGraphicFramePr>
            <a:graphicFrameLocks noChangeAspect="1"/>
          </p:cNvGraphicFramePr>
          <p:nvPr userDrawn="1"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279818960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22" imgW="216" imgH="216" progId="TCLayout.ActiveDocument.1">
                  <p:embed/>
                </p:oleObj>
              </mc:Choice>
              <mc:Fallback>
                <p:oleObj name="Diapositive think-cell" r:id="rId22" imgW="216" imgH="216" progId="TCLayout.ActiveDocument.1">
                  <p:embed/>
                  <p:pic>
                    <p:nvPicPr>
                      <p:cNvPr id="9" name="Objet 8" hidden="1"/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/>
          <p:cNvSpPr/>
          <p:nvPr userDrawn="1">
            <p:custDataLst>
              <p:tags r:id="rId21"/>
            </p:custDataLst>
          </p:nvPr>
        </p:nvSpPr>
        <p:spPr bwMode="auto">
          <a:xfrm>
            <a:off x="0" y="1"/>
            <a:ext cx="158751" cy="158750"/>
          </a:xfrm>
          <a:prstGeom prst="rect">
            <a:avLst/>
          </a:prstGeom>
          <a:noFill/>
          <a:ln w="9525">
            <a:solidFill>
              <a:schemeClr val="tx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lIns="0" tIns="0" rIns="0" bIns="0" rtlCol="0" anchor="ctr"/>
          <a:lstStyle/>
          <a:p>
            <a:pPr marL="0" lvl="0" indent="0" algn="ctr" eaLnBrk="0"/>
            <a:endParaRPr lang="fr-FR" sz="3200" b="0" i="0" baseline="0" dirty="0">
              <a:latin typeface="Calibri"/>
              <a:ea typeface="+mj-ea"/>
              <a:cs typeface="+mj-cs"/>
              <a:sym typeface="Calibri"/>
            </a:endParaRPr>
          </a:p>
        </p:txBody>
      </p:sp>
      <p:pic>
        <p:nvPicPr>
          <p:cNvPr id="1026" name="Objet 4"/>
          <p:cNvPicPr>
            <a:picLocks noChangeAspect="1"/>
          </p:cNvPicPr>
          <p:nvPr/>
        </p:nvPicPr>
        <p:blipFill>
          <a:blip r:embed="rId24"/>
          <a:srcRect/>
          <a:stretch>
            <a:fillRect/>
          </a:stretch>
        </p:blipFill>
        <p:spPr bwMode="auto">
          <a:xfrm>
            <a:off x="1589" y="1588"/>
            <a:ext cx="3175" cy="1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27" name="Objet 3"/>
          <p:cNvPicPr>
            <a:picLocks noChangeAspect="1"/>
          </p:cNvPicPr>
          <p:nvPr/>
        </p:nvPicPr>
        <p:blipFill>
          <a:blip r:embed="rId25"/>
          <a:srcRect/>
          <a:stretch>
            <a:fillRect/>
          </a:stretch>
        </p:blipFill>
        <p:spPr bwMode="auto">
          <a:xfrm>
            <a:off x="1589" y="1588"/>
            <a:ext cx="3175" cy="1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28" name="Espace réservé du texte 2"/>
          <p:cNvSpPr>
            <a:spLocks noGrp="1"/>
          </p:cNvSpPr>
          <p:nvPr>
            <p:ph type="body" idx="1"/>
          </p:nvPr>
        </p:nvSpPr>
        <p:spPr bwMode="auto">
          <a:xfrm>
            <a:off x="608013" y="1413570"/>
            <a:ext cx="10975975" cy="47157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02363" tIns="51178" rIns="102363" bIns="51178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fr-FR" dirty="0"/>
              <a:t>Modifiez les styles du texte </a:t>
            </a:r>
            <a:r>
              <a:rPr lang="fr-FR" altLang="fr-FR"/>
              <a:t>du masque</a:t>
            </a:r>
          </a:p>
          <a:p>
            <a:pPr lvl="1"/>
            <a:r>
              <a:rPr lang="fr-FR" altLang="fr-FR" dirty="0"/>
              <a:t>Deuxième niveau</a:t>
            </a:r>
          </a:p>
          <a:p>
            <a:pPr lvl="2"/>
            <a:r>
              <a:rPr lang="fr-FR" altLang="fr-FR" dirty="0"/>
              <a:t>Troisième niveau</a:t>
            </a:r>
          </a:p>
          <a:p>
            <a:pPr lvl="3"/>
            <a:r>
              <a:rPr lang="fr-FR" altLang="fr-FR" dirty="0"/>
              <a:t>Quatrième niveau</a:t>
            </a:r>
          </a:p>
          <a:p>
            <a:pPr lvl="4"/>
            <a:r>
              <a:rPr lang="fr-FR" altLang="fr-FR" dirty="0"/>
              <a:t>Cinquième niveau</a:t>
            </a:r>
            <a:endParaRPr lang="fr-CA" altLang="fr-FR" dirty="0"/>
          </a:p>
        </p:txBody>
      </p:sp>
      <p:sp>
        <p:nvSpPr>
          <p:cNvPr id="1030" name="Espace réservé du titre 10"/>
          <p:cNvSpPr>
            <a:spLocks noGrp="1"/>
          </p:cNvSpPr>
          <p:nvPr>
            <p:ph type="title"/>
          </p:nvPr>
        </p:nvSpPr>
        <p:spPr bwMode="auto">
          <a:xfrm>
            <a:off x="608013" y="274638"/>
            <a:ext cx="10975975" cy="9949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0902" tIns="60451" rIns="120902" bIns="60451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fr-FR" dirty="0"/>
              <a:t>Modifiez le style du titre</a:t>
            </a:r>
            <a:endParaRPr lang="fr-CA" altLang="fr-FR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012" r:id="rId1"/>
    <p:sldLayoutId id="2147484025" r:id="rId2"/>
    <p:sldLayoutId id="2147483940" r:id="rId3"/>
    <p:sldLayoutId id="2147484011" r:id="rId4"/>
    <p:sldLayoutId id="2147484024" r:id="rId5"/>
    <p:sldLayoutId id="2147484013" r:id="rId6"/>
    <p:sldLayoutId id="2147484014" r:id="rId7"/>
    <p:sldLayoutId id="2147484015" r:id="rId8"/>
    <p:sldLayoutId id="2147483942" r:id="rId9"/>
    <p:sldLayoutId id="2147484020" r:id="rId10"/>
    <p:sldLayoutId id="2147484017" r:id="rId11"/>
    <p:sldLayoutId id="2147484018" r:id="rId12"/>
    <p:sldLayoutId id="2147484019" r:id="rId13"/>
    <p:sldLayoutId id="2147484016" r:id="rId14"/>
    <p:sldLayoutId id="2147484022" r:id="rId15"/>
    <p:sldLayoutId id="2147484021" r:id="rId16"/>
    <p:sldLayoutId id="2147483944" r:id="rId17"/>
    <p:sldLayoutId id="2147483946" r:id="rId18"/>
  </p:sldLayoutIdLst>
  <p:hf hdr="0" ftr="0" dt="0"/>
  <p:txStyles>
    <p:titleStyle>
      <a:lvl1pPr algn="l" defTabSz="680992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200" kern="1200">
          <a:solidFill>
            <a:schemeClr val="tx2"/>
          </a:solidFill>
          <a:latin typeface="+mn-lt"/>
          <a:ea typeface="+mj-ea"/>
          <a:cs typeface="+mj-cs"/>
        </a:defRPr>
      </a:lvl1pPr>
      <a:lvl2pPr algn="l" defTabSz="680992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Calibri" pitchFamily="34" charset="0"/>
        </a:defRPr>
      </a:lvl2pPr>
      <a:lvl3pPr algn="l" defTabSz="680992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Calibri" pitchFamily="34" charset="0"/>
        </a:defRPr>
      </a:lvl3pPr>
      <a:lvl4pPr algn="l" defTabSz="680992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Calibri" pitchFamily="34" charset="0"/>
        </a:defRPr>
      </a:lvl4pPr>
      <a:lvl5pPr algn="l" defTabSz="680992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Calibri" pitchFamily="34" charset="0"/>
        </a:defRPr>
      </a:lvl5pPr>
      <a:lvl6pPr marL="457170" algn="l" defTabSz="680992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Calibri" pitchFamily="34" charset="0"/>
        </a:defRPr>
      </a:lvl6pPr>
      <a:lvl7pPr marL="914339" algn="l" defTabSz="680992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Calibri" pitchFamily="34" charset="0"/>
        </a:defRPr>
      </a:lvl7pPr>
      <a:lvl8pPr marL="1371509" algn="l" defTabSz="680992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Calibri" pitchFamily="34" charset="0"/>
        </a:defRPr>
      </a:lvl8pPr>
      <a:lvl9pPr marL="1828678" algn="l" defTabSz="680992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Calibri" pitchFamily="34" charset="0"/>
        </a:defRPr>
      </a:lvl9pPr>
    </p:titleStyle>
    <p:bodyStyle>
      <a:lvl1pPr algn="l" defTabSz="680992" rtl="0" eaLnBrk="1" fontAlgn="base" hangingPunct="1">
        <a:spcBef>
          <a:spcPct val="0"/>
        </a:spcBef>
        <a:spcAft>
          <a:spcPct val="0"/>
        </a:spcAft>
        <a:buFont typeface="Arial" pitchFamily="34" charset="0"/>
        <a:defRPr sz="2000" b="1" kern="1200">
          <a:solidFill>
            <a:schemeClr val="accent1"/>
          </a:solidFill>
          <a:latin typeface="+mn-lt"/>
          <a:ea typeface="+mn-ea"/>
          <a:cs typeface="+mn-cs"/>
        </a:defRPr>
      </a:lvl1pPr>
      <a:lvl2pPr marL="300017" indent="-273032" algn="l" defTabSz="680992" rtl="0" eaLnBrk="1" fontAlgn="base" hangingPunct="1">
        <a:spcBef>
          <a:spcPct val="0"/>
        </a:spcBef>
        <a:spcAft>
          <a:spcPct val="0"/>
        </a:spcAft>
        <a:buFont typeface="Calibri" pitchFamily="34" charset="0"/>
        <a:buChar char="–"/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1111176" indent="-300017" algn="l" defTabSz="680992" rtl="0" eaLnBrk="1" fontAlgn="base" hangingPunct="1">
        <a:spcBef>
          <a:spcPct val="0"/>
        </a:spcBef>
        <a:spcAft>
          <a:spcPct val="0"/>
        </a:spcAft>
        <a:buFont typeface="Arial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498500" indent="-300017" algn="l" defTabSz="680992" rtl="0" eaLnBrk="1" fontAlgn="base" hangingPunct="1">
        <a:spcBef>
          <a:spcPct val="0"/>
        </a:spcBef>
        <a:spcAft>
          <a:spcPct val="0"/>
        </a:spcAft>
        <a:buFont typeface="Arial" pitchFamily="34" charset="0"/>
        <a:buChar char="–"/>
        <a:defRPr sz="1300" kern="1200">
          <a:solidFill>
            <a:schemeClr val="tx1"/>
          </a:solidFill>
          <a:latin typeface="+mn-lt"/>
          <a:ea typeface="+mn-ea"/>
          <a:cs typeface="+mn-cs"/>
        </a:defRPr>
      </a:lvl4pPr>
      <a:lvl5pPr marL="2001704" indent="-296843" algn="l" defTabSz="680992" rtl="0" eaLnBrk="1" fontAlgn="base" hangingPunct="1">
        <a:spcBef>
          <a:spcPct val="0"/>
        </a:spcBef>
        <a:spcAft>
          <a:spcPct val="0"/>
        </a:spcAft>
        <a:buFont typeface="Arial" pitchFamily="34" charset="0"/>
        <a:buChar char="–"/>
        <a:defRPr sz="1300" kern="1200">
          <a:solidFill>
            <a:schemeClr val="tx1"/>
          </a:solidFill>
          <a:latin typeface="+mn-lt"/>
          <a:ea typeface="+mn-ea"/>
          <a:cs typeface="+mn-cs"/>
        </a:defRPr>
      </a:lvl5pPr>
      <a:lvl6pPr marL="3754044" indent="-341278" algn="l" defTabSz="682554" rtl="0" eaLnBrk="1" latinLnBrk="0" hangingPunct="1">
        <a:spcBef>
          <a:spcPct val="20000"/>
        </a:spcBef>
        <a:buFont typeface="Arial"/>
        <a:buChar char="•"/>
        <a:defRPr sz="3100" kern="1200">
          <a:solidFill>
            <a:schemeClr val="tx1"/>
          </a:solidFill>
          <a:latin typeface="+mn-lt"/>
          <a:ea typeface="+mn-ea"/>
          <a:cs typeface="+mn-cs"/>
        </a:defRPr>
      </a:lvl6pPr>
      <a:lvl7pPr marL="4436596" indent="-341278" algn="l" defTabSz="682554" rtl="0" eaLnBrk="1" latinLnBrk="0" hangingPunct="1">
        <a:spcBef>
          <a:spcPct val="20000"/>
        </a:spcBef>
        <a:buFont typeface="Arial"/>
        <a:buChar char="•"/>
        <a:defRPr sz="3100" kern="1200">
          <a:solidFill>
            <a:schemeClr val="tx1"/>
          </a:solidFill>
          <a:latin typeface="+mn-lt"/>
          <a:ea typeface="+mn-ea"/>
          <a:cs typeface="+mn-cs"/>
        </a:defRPr>
      </a:lvl7pPr>
      <a:lvl8pPr marL="5119152" indent="-341278" algn="l" defTabSz="682554" rtl="0" eaLnBrk="1" latinLnBrk="0" hangingPunct="1">
        <a:spcBef>
          <a:spcPct val="20000"/>
        </a:spcBef>
        <a:buFont typeface="Arial"/>
        <a:buChar char="•"/>
        <a:defRPr sz="3100" kern="1200">
          <a:solidFill>
            <a:schemeClr val="tx1"/>
          </a:solidFill>
          <a:latin typeface="+mn-lt"/>
          <a:ea typeface="+mn-ea"/>
          <a:cs typeface="+mn-cs"/>
        </a:defRPr>
      </a:lvl8pPr>
      <a:lvl9pPr marL="5801703" indent="-341278" algn="l" defTabSz="682554" rtl="0" eaLnBrk="1" latinLnBrk="0" hangingPunct="1">
        <a:spcBef>
          <a:spcPct val="20000"/>
        </a:spcBef>
        <a:buFont typeface="Arial"/>
        <a:buChar char="•"/>
        <a:defRPr sz="31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682554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1pPr>
      <a:lvl2pPr marL="682554" algn="l" defTabSz="682554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2pPr>
      <a:lvl3pPr marL="1365102" algn="l" defTabSz="682554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3pPr>
      <a:lvl4pPr marL="2047663" algn="l" defTabSz="682554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4pPr>
      <a:lvl5pPr marL="2730215" algn="l" defTabSz="682554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5pPr>
      <a:lvl6pPr marL="3412768" algn="l" defTabSz="682554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6pPr>
      <a:lvl7pPr marL="4095320" algn="l" defTabSz="682554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7pPr>
      <a:lvl8pPr marL="4777874" algn="l" defTabSz="682554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8pPr>
      <a:lvl9pPr marL="5460428" algn="l" defTabSz="682554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07072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t 8" hidden="1"/>
          <p:cNvGraphicFramePr>
            <a:graphicFrameLocks noChangeAspect="1"/>
          </p:cNvGraphicFramePr>
          <p:nvPr>
            <p:custDataLst>
              <p:tags r:id="rId8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10" imgW="216" imgH="216" progId="TCLayout.ActiveDocument.1">
                  <p:embed/>
                </p:oleObj>
              </mc:Choice>
              <mc:Fallback>
                <p:oleObj name="Diapositive think-cell" r:id="rId10" imgW="216" imgH="216" progId="TCLayout.ActiveDocument.1">
                  <p:embed/>
                  <p:pic>
                    <p:nvPicPr>
                      <p:cNvPr id="9" name="Objet 8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/>
          <p:cNvSpPr/>
          <p:nvPr>
            <p:custDataLst>
              <p:tags r:id="rId9"/>
            </p:custDataLst>
          </p:nvPr>
        </p:nvSpPr>
        <p:spPr bwMode="auto">
          <a:xfrm>
            <a:off x="0" y="1"/>
            <a:ext cx="158751" cy="158750"/>
          </a:xfrm>
          <a:prstGeom prst="rect">
            <a:avLst/>
          </a:prstGeom>
          <a:noFill/>
          <a:ln w="9525">
            <a:solidFill>
              <a:schemeClr val="tx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lIns="0" tIns="0" rIns="0" bIns="0" rtlCol="0" anchor="ctr"/>
          <a:lstStyle/>
          <a:p>
            <a:pPr marL="0" lvl="0" indent="0" algn="ctr" eaLnBrk="0"/>
            <a:endParaRPr lang="fr-FR" sz="3200" b="0" i="0" baseline="0">
              <a:latin typeface="Calibri"/>
              <a:ea typeface="+mj-ea"/>
              <a:cs typeface="+mj-cs"/>
              <a:sym typeface="Calibri"/>
            </a:endParaRPr>
          </a:p>
        </p:txBody>
      </p:sp>
      <p:pic>
        <p:nvPicPr>
          <p:cNvPr id="1026" name="Objet 4"/>
          <p:cNvPicPr>
            <a:picLocks noChangeAspect="1"/>
          </p:cNvPicPr>
          <p:nvPr/>
        </p:nvPicPr>
        <p:blipFill>
          <a:blip r:embed="rId12"/>
          <a:srcRect/>
          <a:stretch>
            <a:fillRect/>
          </a:stretch>
        </p:blipFill>
        <p:spPr bwMode="auto">
          <a:xfrm>
            <a:off x="1589" y="1589"/>
            <a:ext cx="3175" cy="1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27" name="Objet 3"/>
          <p:cNvPicPr>
            <a:picLocks noChangeAspect="1"/>
          </p:cNvPicPr>
          <p:nvPr/>
        </p:nvPicPr>
        <p:blipFill>
          <a:blip r:embed="rId13"/>
          <a:srcRect/>
          <a:stretch>
            <a:fillRect/>
          </a:stretch>
        </p:blipFill>
        <p:spPr bwMode="auto">
          <a:xfrm>
            <a:off x="1589" y="1589"/>
            <a:ext cx="3175" cy="1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28" name="Espace réservé du texte 2"/>
          <p:cNvSpPr>
            <a:spLocks noGrp="1"/>
          </p:cNvSpPr>
          <p:nvPr>
            <p:ph type="body" idx="1"/>
          </p:nvPr>
        </p:nvSpPr>
        <p:spPr bwMode="auto">
          <a:xfrm>
            <a:off x="608014" y="1413570"/>
            <a:ext cx="10975975" cy="47157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02363" tIns="51178" rIns="102363" bIns="51178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fr-FR"/>
              <a:t>Modifiez les styles du texte du masque</a:t>
            </a:r>
          </a:p>
          <a:p>
            <a:pPr lvl="1"/>
            <a:r>
              <a:rPr lang="fr-FR" altLang="fr-FR"/>
              <a:t>Deuxième niveau</a:t>
            </a:r>
          </a:p>
          <a:p>
            <a:pPr lvl="2"/>
            <a:r>
              <a:rPr lang="fr-FR" altLang="fr-FR"/>
              <a:t>Troisième niveau</a:t>
            </a:r>
          </a:p>
          <a:p>
            <a:pPr lvl="3"/>
            <a:r>
              <a:rPr lang="fr-FR" altLang="fr-FR"/>
              <a:t>Quatrième niveau</a:t>
            </a:r>
          </a:p>
          <a:p>
            <a:pPr lvl="4"/>
            <a:r>
              <a:rPr lang="fr-FR" altLang="fr-FR"/>
              <a:t>Cinquième niveau</a:t>
            </a:r>
            <a:endParaRPr lang="fr-CA" altLang="fr-FR"/>
          </a:p>
        </p:txBody>
      </p:sp>
      <p:sp>
        <p:nvSpPr>
          <p:cNvPr id="1030" name="Espace réservé du titre 10"/>
          <p:cNvSpPr>
            <a:spLocks noGrp="1"/>
          </p:cNvSpPr>
          <p:nvPr>
            <p:ph type="title"/>
          </p:nvPr>
        </p:nvSpPr>
        <p:spPr bwMode="auto">
          <a:xfrm>
            <a:off x="608014" y="274638"/>
            <a:ext cx="10975975" cy="9949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0902" tIns="60451" rIns="120902" bIns="60451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fr-FR"/>
              <a:t>Modifiez le style du titre</a:t>
            </a:r>
            <a:endParaRPr lang="fr-CA" altLang="fr-FR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367" r:id="rId1"/>
    <p:sldLayoutId id="2147484366" r:id="rId2"/>
    <p:sldLayoutId id="2147484365" r:id="rId3"/>
    <p:sldLayoutId id="2147484359" r:id="rId4"/>
    <p:sldLayoutId id="2147484302" r:id="rId5"/>
    <p:sldLayoutId id="2147484121" r:id="rId6"/>
  </p:sldLayoutIdLst>
  <p:hf sldNum="0" hdr="0" ftr="0" dt="0"/>
  <p:txStyles>
    <p:titleStyle>
      <a:lvl1pPr algn="l" defTabSz="680992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200" kern="1200">
          <a:solidFill>
            <a:schemeClr val="tx2"/>
          </a:solidFill>
          <a:latin typeface="+mn-lt"/>
          <a:ea typeface="+mj-ea"/>
          <a:cs typeface="+mj-cs"/>
        </a:defRPr>
      </a:lvl1pPr>
      <a:lvl2pPr algn="l" defTabSz="680992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Calibri" pitchFamily="34" charset="0"/>
        </a:defRPr>
      </a:lvl2pPr>
      <a:lvl3pPr algn="l" defTabSz="680992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Calibri" pitchFamily="34" charset="0"/>
        </a:defRPr>
      </a:lvl3pPr>
      <a:lvl4pPr algn="l" defTabSz="680992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Calibri" pitchFamily="34" charset="0"/>
        </a:defRPr>
      </a:lvl4pPr>
      <a:lvl5pPr algn="l" defTabSz="680992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Calibri" pitchFamily="34" charset="0"/>
        </a:defRPr>
      </a:lvl5pPr>
      <a:lvl6pPr marL="457170" algn="l" defTabSz="680992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Calibri" pitchFamily="34" charset="0"/>
        </a:defRPr>
      </a:lvl6pPr>
      <a:lvl7pPr marL="914339" algn="l" defTabSz="680992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Calibri" pitchFamily="34" charset="0"/>
        </a:defRPr>
      </a:lvl7pPr>
      <a:lvl8pPr marL="1371509" algn="l" defTabSz="680992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Calibri" pitchFamily="34" charset="0"/>
        </a:defRPr>
      </a:lvl8pPr>
      <a:lvl9pPr marL="1828678" algn="l" defTabSz="680992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Calibri" pitchFamily="34" charset="0"/>
        </a:defRPr>
      </a:lvl9pPr>
    </p:titleStyle>
    <p:bodyStyle>
      <a:lvl1pPr algn="l" defTabSz="680992" rtl="0" eaLnBrk="1" fontAlgn="base" hangingPunct="1">
        <a:spcBef>
          <a:spcPct val="0"/>
        </a:spcBef>
        <a:spcAft>
          <a:spcPct val="0"/>
        </a:spcAft>
        <a:buFont typeface="Arial" pitchFamily="34" charset="0"/>
        <a:defRPr sz="2000" b="1" kern="1200">
          <a:solidFill>
            <a:schemeClr val="accent1"/>
          </a:solidFill>
          <a:latin typeface="+mn-lt"/>
          <a:ea typeface="+mn-ea"/>
          <a:cs typeface="+mn-cs"/>
        </a:defRPr>
      </a:lvl1pPr>
      <a:lvl2pPr marL="300017" indent="-273032" algn="l" defTabSz="680992" rtl="0" eaLnBrk="1" fontAlgn="base" hangingPunct="1">
        <a:spcBef>
          <a:spcPct val="0"/>
        </a:spcBef>
        <a:spcAft>
          <a:spcPct val="0"/>
        </a:spcAft>
        <a:buFont typeface="Calibri" pitchFamily="34" charset="0"/>
        <a:buChar char="–"/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1111176" indent="-300017" algn="l" defTabSz="680992" rtl="0" eaLnBrk="1" fontAlgn="base" hangingPunct="1">
        <a:spcBef>
          <a:spcPct val="0"/>
        </a:spcBef>
        <a:spcAft>
          <a:spcPct val="0"/>
        </a:spcAft>
        <a:buFont typeface="Arial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498500" indent="-300017" algn="l" defTabSz="680992" rtl="0" eaLnBrk="1" fontAlgn="base" hangingPunct="1">
        <a:spcBef>
          <a:spcPct val="0"/>
        </a:spcBef>
        <a:spcAft>
          <a:spcPct val="0"/>
        </a:spcAft>
        <a:buFont typeface="Arial" pitchFamily="34" charset="0"/>
        <a:buChar char="–"/>
        <a:defRPr sz="1300" kern="1200">
          <a:solidFill>
            <a:schemeClr val="tx1"/>
          </a:solidFill>
          <a:latin typeface="+mn-lt"/>
          <a:ea typeface="+mn-ea"/>
          <a:cs typeface="+mn-cs"/>
        </a:defRPr>
      </a:lvl4pPr>
      <a:lvl5pPr marL="2001704" indent="-296843" algn="l" defTabSz="680992" rtl="0" eaLnBrk="1" fontAlgn="base" hangingPunct="1">
        <a:spcBef>
          <a:spcPct val="0"/>
        </a:spcBef>
        <a:spcAft>
          <a:spcPct val="0"/>
        </a:spcAft>
        <a:buFont typeface="Arial" pitchFamily="34" charset="0"/>
        <a:buChar char="–"/>
        <a:defRPr sz="1300" kern="1200">
          <a:solidFill>
            <a:schemeClr val="tx1"/>
          </a:solidFill>
          <a:latin typeface="+mn-lt"/>
          <a:ea typeface="+mn-ea"/>
          <a:cs typeface="+mn-cs"/>
        </a:defRPr>
      </a:lvl5pPr>
      <a:lvl6pPr marL="3754044" indent="-341278" algn="l" defTabSz="682554" rtl="0" eaLnBrk="1" latinLnBrk="0" hangingPunct="1">
        <a:spcBef>
          <a:spcPct val="20000"/>
        </a:spcBef>
        <a:buFont typeface="Arial"/>
        <a:buChar char="•"/>
        <a:defRPr sz="3100" kern="1200">
          <a:solidFill>
            <a:schemeClr val="tx1"/>
          </a:solidFill>
          <a:latin typeface="+mn-lt"/>
          <a:ea typeface="+mn-ea"/>
          <a:cs typeface="+mn-cs"/>
        </a:defRPr>
      </a:lvl6pPr>
      <a:lvl7pPr marL="4436596" indent="-341278" algn="l" defTabSz="682554" rtl="0" eaLnBrk="1" latinLnBrk="0" hangingPunct="1">
        <a:spcBef>
          <a:spcPct val="20000"/>
        </a:spcBef>
        <a:buFont typeface="Arial"/>
        <a:buChar char="•"/>
        <a:defRPr sz="3100" kern="1200">
          <a:solidFill>
            <a:schemeClr val="tx1"/>
          </a:solidFill>
          <a:latin typeface="+mn-lt"/>
          <a:ea typeface="+mn-ea"/>
          <a:cs typeface="+mn-cs"/>
        </a:defRPr>
      </a:lvl7pPr>
      <a:lvl8pPr marL="5119152" indent="-341278" algn="l" defTabSz="682554" rtl="0" eaLnBrk="1" latinLnBrk="0" hangingPunct="1">
        <a:spcBef>
          <a:spcPct val="20000"/>
        </a:spcBef>
        <a:buFont typeface="Arial"/>
        <a:buChar char="•"/>
        <a:defRPr sz="3100" kern="1200">
          <a:solidFill>
            <a:schemeClr val="tx1"/>
          </a:solidFill>
          <a:latin typeface="+mn-lt"/>
          <a:ea typeface="+mn-ea"/>
          <a:cs typeface="+mn-cs"/>
        </a:defRPr>
      </a:lvl8pPr>
      <a:lvl9pPr marL="5801703" indent="-341278" algn="l" defTabSz="682554" rtl="0" eaLnBrk="1" latinLnBrk="0" hangingPunct="1">
        <a:spcBef>
          <a:spcPct val="20000"/>
        </a:spcBef>
        <a:buFont typeface="Arial"/>
        <a:buChar char="•"/>
        <a:defRPr sz="31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682554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1pPr>
      <a:lvl2pPr marL="682554" algn="l" defTabSz="682554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2pPr>
      <a:lvl3pPr marL="1365102" algn="l" defTabSz="682554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3pPr>
      <a:lvl4pPr marL="2047663" algn="l" defTabSz="682554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4pPr>
      <a:lvl5pPr marL="2730215" algn="l" defTabSz="682554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5pPr>
      <a:lvl6pPr marL="3412768" algn="l" defTabSz="682554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6pPr>
      <a:lvl7pPr marL="4095320" algn="l" defTabSz="682554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7pPr>
      <a:lvl8pPr marL="4777874" algn="l" defTabSz="682554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8pPr>
      <a:lvl9pPr marL="5460428" algn="l" defTabSz="682554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07072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t 8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5" imgW="216" imgH="216" progId="TCLayout.ActiveDocument.1">
                  <p:embed/>
                </p:oleObj>
              </mc:Choice>
              <mc:Fallback>
                <p:oleObj name="Diapositive think-cell" r:id="rId5" imgW="216" imgH="216" progId="TCLayout.ActiveDocument.1">
                  <p:embed/>
                  <p:pic>
                    <p:nvPicPr>
                      <p:cNvPr id="9" name="Objet 8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/>
          <p:cNvSpPr/>
          <p:nvPr>
            <p:custDataLst>
              <p:tags r:id="rId4"/>
            </p:custDataLst>
          </p:nvPr>
        </p:nvSpPr>
        <p:spPr bwMode="auto">
          <a:xfrm>
            <a:off x="0" y="1"/>
            <a:ext cx="158751" cy="158750"/>
          </a:xfrm>
          <a:prstGeom prst="rect">
            <a:avLst/>
          </a:prstGeom>
          <a:noFill/>
          <a:ln w="9525">
            <a:solidFill>
              <a:schemeClr val="tx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lIns="0" tIns="0" rIns="0" bIns="0" rtlCol="0" anchor="ctr"/>
          <a:lstStyle/>
          <a:p>
            <a:pPr algn="ctr"/>
            <a:endParaRPr lang="fr-FR" sz="3200">
              <a:solidFill>
                <a:srgbClr val="000000"/>
              </a:solidFill>
              <a:latin typeface="Calibri"/>
              <a:sym typeface="Calibri"/>
            </a:endParaRPr>
          </a:p>
        </p:txBody>
      </p:sp>
      <p:pic>
        <p:nvPicPr>
          <p:cNvPr id="1026" name="Objet 4"/>
          <p:cNvPicPr>
            <a:picLocks noChangeAspect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1589" y="1588"/>
            <a:ext cx="3175" cy="1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27" name="Objet 3"/>
          <p:cNvPicPr>
            <a:picLocks noChangeAspect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1589" y="1588"/>
            <a:ext cx="3175" cy="1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28" name="Espace réservé du texte 2"/>
          <p:cNvSpPr>
            <a:spLocks noGrp="1"/>
          </p:cNvSpPr>
          <p:nvPr>
            <p:ph type="body" idx="1"/>
          </p:nvPr>
        </p:nvSpPr>
        <p:spPr bwMode="auto">
          <a:xfrm>
            <a:off x="608013" y="1413570"/>
            <a:ext cx="10975975" cy="47157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02363" tIns="51178" rIns="102363" bIns="51178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fr-FR"/>
              <a:t>Modifiez les styles du texte du masque</a:t>
            </a:r>
          </a:p>
          <a:p>
            <a:pPr lvl="1"/>
            <a:r>
              <a:rPr lang="fr-FR" altLang="fr-FR"/>
              <a:t>Deuxième niveau</a:t>
            </a:r>
          </a:p>
          <a:p>
            <a:pPr lvl="2"/>
            <a:r>
              <a:rPr lang="fr-FR" altLang="fr-FR"/>
              <a:t>Troisième niveau</a:t>
            </a:r>
          </a:p>
          <a:p>
            <a:pPr lvl="3"/>
            <a:r>
              <a:rPr lang="fr-FR" altLang="fr-FR"/>
              <a:t>Quatrième niveau</a:t>
            </a:r>
          </a:p>
          <a:p>
            <a:pPr lvl="4"/>
            <a:r>
              <a:rPr lang="fr-FR" altLang="fr-FR"/>
              <a:t>Cinquième niveau</a:t>
            </a:r>
            <a:endParaRPr lang="fr-CA" altLang="fr-FR"/>
          </a:p>
        </p:txBody>
      </p:sp>
      <p:sp>
        <p:nvSpPr>
          <p:cNvPr id="1030" name="Espace réservé du titre 10"/>
          <p:cNvSpPr>
            <a:spLocks noGrp="1"/>
          </p:cNvSpPr>
          <p:nvPr>
            <p:ph type="title"/>
          </p:nvPr>
        </p:nvSpPr>
        <p:spPr bwMode="auto">
          <a:xfrm>
            <a:off x="608013" y="274638"/>
            <a:ext cx="10975975" cy="9949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0902" tIns="60451" rIns="120902" bIns="60451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fr-FR"/>
              <a:t>Modifiez le style du titre</a:t>
            </a:r>
            <a:endParaRPr lang="fr-CA" altLang="fr-FR"/>
          </a:p>
        </p:txBody>
      </p:sp>
    </p:spTree>
    <p:extLst>
      <p:ext uri="{BB962C8B-B14F-4D97-AF65-F5344CB8AC3E}">
        <p14:creationId xmlns:p14="http://schemas.microsoft.com/office/powerpoint/2010/main" val="39596900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08" r:id="rId1"/>
  </p:sldLayoutIdLst>
  <p:hf sldNum="0" hdr="0" ftr="0" dt="0"/>
  <p:txStyles>
    <p:titleStyle>
      <a:lvl1pPr algn="l" defTabSz="680992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200" kern="1200">
          <a:solidFill>
            <a:schemeClr val="tx2"/>
          </a:solidFill>
          <a:latin typeface="+mn-lt"/>
          <a:ea typeface="+mj-ea"/>
          <a:cs typeface="+mj-cs"/>
        </a:defRPr>
      </a:lvl1pPr>
      <a:lvl2pPr algn="l" defTabSz="680992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Calibri" pitchFamily="34" charset="0"/>
        </a:defRPr>
      </a:lvl2pPr>
      <a:lvl3pPr algn="l" defTabSz="680992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Calibri" pitchFamily="34" charset="0"/>
        </a:defRPr>
      </a:lvl3pPr>
      <a:lvl4pPr algn="l" defTabSz="680992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Calibri" pitchFamily="34" charset="0"/>
        </a:defRPr>
      </a:lvl4pPr>
      <a:lvl5pPr algn="l" defTabSz="680992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Calibri" pitchFamily="34" charset="0"/>
        </a:defRPr>
      </a:lvl5pPr>
      <a:lvl6pPr marL="457170" algn="l" defTabSz="680992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Calibri" pitchFamily="34" charset="0"/>
        </a:defRPr>
      </a:lvl6pPr>
      <a:lvl7pPr marL="914339" algn="l" defTabSz="680992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Calibri" pitchFamily="34" charset="0"/>
        </a:defRPr>
      </a:lvl7pPr>
      <a:lvl8pPr marL="1371509" algn="l" defTabSz="680992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Calibri" pitchFamily="34" charset="0"/>
        </a:defRPr>
      </a:lvl8pPr>
      <a:lvl9pPr marL="1828678" algn="l" defTabSz="680992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Calibri" pitchFamily="34" charset="0"/>
        </a:defRPr>
      </a:lvl9pPr>
    </p:titleStyle>
    <p:bodyStyle>
      <a:lvl1pPr algn="l" defTabSz="680992" rtl="0" eaLnBrk="1" fontAlgn="base" hangingPunct="1">
        <a:spcBef>
          <a:spcPct val="0"/>
        </a:spcBef>
        <a:spcAft>
          <a:spcPct val="0"/>
        </a:spcAft>
        <a:buFont typeface="Arial" pitchFamily="34" charset="0"/>
        <a:defRPr sz="2000" b="1" kern="1200">
          <a:solidFill>
            <a:schemeClr val="accent1"/>
          </a:solidFill>
          <a:latin typeface="+mn-lt"/>
          <a:ea typeface="+mn-ea"/>
          <a:cs typeface="+mn-cs"/>
        </a:defRPr>
      </a:lvl1pPr>
      <a:lvl2pPr marL="300017" indent="-273032" algn="l" defTabSz="680992" rtl="0" eaLnBrk="1" fontAlgn="base" hangingPunct="1">
        <a:spcBef>
          <a:spcPct val="0"/>
        </a:spcBef>
        <a:spcAft>
          <a:spcPct val="0"/>
        </a:spcAft>
        <a:buFont typeface="Calibri" pitchFamily="34" charset="0"/>
        <a:buChar char="–"/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1111176" indent="-300017" algn="l" defTabSz="680992" rtl="0" eaLnBrk="1" fontAlgn="base" hangingPunct="1">
        <a:spcBef>
          <a:spcPct val="0"/>
        </a:spcBef>
        <a:spcAft>
          <a:spcPct val="0"/>
        </a:spcAft>
        <a:buFont typeface="Arial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498500" indent="-300017" algn="l" defTabSz="680992" rtl="0" eaLnBrk="1" fontAlgn="base" hangingPunct="1">
        <a:spcBef>
          <a:spcPct val="0"/>
        </a:spcBef>
        <a:spcAft>
          <a:spcPct val="0"/>
        </a:spcAft>
        <a:buFont typeface="Arial" pitchFamily="34" charset="0"/>
        <a:buChar char="–"/>
        <a:defRPr sz="1300" kern="1200">
          <a:solidFill>
            <a:schemeClr val="tx1"/>
          </a:solidFill>
          <a:latin typeface="+mn-lt"/>
          <a:ea typeface="+mn-ea"/>
          <a:cs typeface="+mn-cs"/>
        </a:defRPr>
      </a:lvl4pPr>
      <a:lvl5pPr marL="2001704" indent="-296843" algn="l" defTabSz="680992" rtl="0" eaLnBrk="1" fontAlgn="base" hangingPunct="1">
        <a:spcBef>
          <a:spcPct val="0"/>
        </a:spcBef>
        <a:spcAft>
          <a:spcPct val="0"/>
        </a:spcAft>
        <a:buFont typeface="Arial" pitchFamily="34" charset="0"/>
        <a:buChar char="–"/>
        <a:defRPr sz="1300" kern="1200">
          <a:solidFill>
            <a:schemeClr val="tx1"/>
          </a:solidFill>
          <a:latin typeface="+mn-lt"/>
          <a:ea typeface="+mn-ea"/>
          <a:cs typeface="+mn-cs"/>
        </a:defRPr>
      </a:lvl5pPr>
      <a:lvl6pPr marL="3754044" indent="-341278" algn="l" defTabSz="682554" rtl="0" eaLnBrk="1" latinLnBrk="0" hangingPunct="1">
        <a:spcBef>
          <a:spcPct val="20000"/>
        </a:spcBef>
        <a:buFont typeface="Arial"/>
        <a:buChar char="•"/>
        <a:defRPr sz="3100" kern="1200">
          <a:solidFill>
            <a:schemeClr val="tx1"/>
          </a:solidFill>
          <a:latin typeface="+mn-lt"/>
          <a:ea typeface="+mn-ea"/>
          <a:cs typeface="+mn-cs"/>
        </a:defRPr>
      </a:lvl6pPr>
      <a:lvl7pPr marL="4436596" indent="-341278" algn="l" defTabSz="682554" rtl="0" eaLnBrk="1" latinLnBrk="0" hangingPunct="1">
        <a:spcBef>
          <a:spcPct val="20000"/>
        </a:spcBef>
        <a:buFont typeface="Arial"/>
        <a:buChar char="•"/>
        <a:defRPr sz="3100" kern="1200">
          <a:solidFill>
            <a:schemeClr val="tx1"/>
          </a:solidFill>
          <a:latin typeface="+mn-lt"/>
          <a:ea typeface="+mn-ea"/>
          <a:cs typeface="+mn-cs"/>
        </a:defRPr>
      </a:lvl7pPr>
      <a:lvl8pPr marL="5119152" indent="-341278" algn="l" defTabSz="682554" rtl="0" eaLnBrk="1" latinLnBrk="0" hangingPunct="1">
        <a:spcBef>
          <a:spcPct val="20000"/>
        </a:spcBef>
        <a:buFont typeface="Arial"/>
        <a:buChar char="•"/>
        <a:defRPr sz="3100" kern="1200">
          <a:solidFill>
            <a:schemeClr val="tx1"/>
          </a:solidFill>
          <a:latin typeface="+mn-lt"/>
          <a:ea typeface="+mn-ea"/>
          <a:cs typeface="+mn-cs"/>
        </a:defRPr>
      </a:lvl8pPr>
      <a:lvl9pPr marL="5801703" indent="-341278" algn="l" defTabSz="682554" rtl="0" eaLnBrk="1" latinLnBrk="0" hangingPunct="1">
        <a:spcBef>
          <a:spcPct val="20000"/>
        </a:spcBef>
        <a:buFont typeface="Arial"/>
        <a:buChar char="•"/>
        <a:defRPr sz="31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682554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1pPr>
      <a:lvl2pPr marL="682554" algn="l" defTabSz="682554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2pPr>
      <a:lvl3pPr marL="1365102" algn="l" defTabSz="682554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3pPr>
      <a:lvl4pPr marL="2047663" algn="l" defTabSz="682554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4pPr>
      <a:lvl5pPr marL="2730215" algn="l" defTabSz="682554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5pPr>
      <a:lvl6pPr marL="3412768" algn="l" defTabSz="682554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6pPr>
      <a:lvl7pPr marL="4095320" algn="l" defTabSz="682554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7pPr>
      <a:lvl8pPr marL="4777874" algn="l" defTabSz="682554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8pPr>
      <a:lvl9pPr marL="5460428" algn="l" defTabSz="682554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07072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t 8" hidden="1"/>
          <p:cNvGraphicFramePr>
            <a:graphicFrameLocks noChangeAspect="1"/>
          </p:cNvGraphicFramePr>
          <p:nvPr userDrawn="1">
            <p:custDataLst>
              <p:tags r:id="rId4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6" imgW="216" imgH="216" progId="TCLayout.ActiveDocument.1">
                  <p:embed/>
                </p:oleObj>
              </mc:Choice>
              <mc:Fallback>
                <p:oleObj name="Diapositive think-cell" r:id="rId6" imgW="216" imgH="216" progId="TCLayout.ActiveDocument.1">
                  <p:embed/>
                  <p:pic>
                    <p:nvPicPr>
                      <p:cNvPr id="9" name="Objet 8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/>
          <p:cNvSpPr/>
          <p:nvPr userDrawn="1">
            <p:custDataLst>
              <p:tags r:id="rId5"/>
            </p:custDataLst>
          </p:nvPr>
        </p:nvSpPr>
        <p:spPr bwMode="auto">
          <a:xfrm>
            <a:off x="0" y="1"/>
            <a:ext cx="158751" cy="158750"/>
          </a:xfrm>
          <a:prstGeom prst="rect">
            <a:avLst/>
          </a:prstGeom>
          <a:noFill/>
          <a:ln w="9525">
            <a:solidFill>
              <a:schemeClr val="tx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lIns="0" tIns="0" rIns="0" bIns="0" rtlCol="0" anchor="ctr"/>
          <a:lstStyle/>
          <a:p>
            <a:pPr marL="0" lvl="0" indent="0" algn="ctr" eaLnBrk="0"/>
            <a:endParaRPr lang="fr-FR" sz="3200" b="0" i="0" baseline="0" dirty="0">
              <a:latin typeface="Calibri"/>
              <a:ea typeface="+mj-ea"/>
              <a:cs typeface="+mj-cs"/>
              <a:sym typeface="Calibri"/>
            </a:endParaRPr>
          </a:p>
        </p:txBody>
      </p:sp>
      <p:pic>
        <p:nvPicPr>
          <p:cNvPr id="1026" name="Objet 4"/>
          <p:cNvPicPr>
            <a:picLocks noChangeAspect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1589" y="1588"/>
            <a:ext cx="3175" cy="1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27" name="Objet 3"/>
          <p:cNvPicPr>
            <a:picLocks noChangeAspect="1"/>
          </p:cNvPicPr>
          <p:nvPr/>
        </p:nvPicPr>
        <p:blipFill>
          <a:blip r:embed="rId9"/>
          <a:srcRect/>
          <a:stretch>
            <a:fillRect/>
          </a:stretch>
        </p:blipFill>
        <p:spPr bwMode="auto">
          <a:xfrm>
            <a:off x="1589" y="1588"/>
            <a:ext cx="3175" cy="1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28" name="Espace réservé du texte 2"/>
          <p:cNvSpPr>
            <a:spLocks noGrp="1"/>
          </p:cNvSpPr>
          <p:nvPr>
            <p:ph type="body" idx="1"/>
          </p:nvPr>
        </p:nvSpPr>
        <p:spPr bwMode="auto">
          <a:xfrm>
            <a:off x="608013" y="1413570"/>
            <a:ext cx="10975975" cy="47157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02363" tIns="51178" rIns="102363" bIns="51178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fr-FR" dirty="0"/>
              <a:t>Modifiez les styles du texte </a:t>
            </a:r>
            <a:r>
              <a:rPr lang="fr-FR" altLang="fr-FR"/>
              <a:t>du masque</a:t>
            </a:r>
          </a:p>
          <a:p>
            <a:pPr lvl="1"/>
            <a:r>
              <a:rPr lang="fr-FR" altLang="fr-FR" dirty="0"/>
              <a:t>Deuxième niveau</a:t>
            </a:r>
          </a:p>
          <a:p>
            <a:pPr lvl="2"/>
            <a:r>
              <a:rPr lang="fr-FR" altLang="fr-FR" dirty="0"/>
              <a:t>Troisième niveau</a:t>
            </a:r>
          </a:p>
          <a:p>
            <a:pPr lvl="3"/>
            <a:r>
              <a:rPr lang="fr-FR" altLang="fr-FR" dirty="0"/>
              <a:t>Quatrième niveau</a:t>
            </a:r>
          </a:p>
          <a:p>
            <a:pPr lvl="4"/>
            <a:r>
              <a:rPr lang="fr-FR" altLang="fr-FR" dirty="0"/>
              <a:t>Cinquième niveau</a:t>
            </a:r>
            <a:endParaRPr lang="fr-CA" altLang="fr-FR" dirty="0"/>
          </a:p>
        </p:txBody>
      </p:sp>
      <p:sp>
        <p:nvSpPr>
          <p:cNvPr id="1030" name="Espace réservé du titre 10"/>
          <p:cNvSpPr>
            <a:spLocks noGrp="1"/>
          </p:cNvSpPr>
          <p:nvPr>
            <p:ph type="title"/>
          </p:nvPr>
        </p:nvSpPr>
        <p:spPr bwMode="auto">
          <a:xfrm>
            <a:off x="608013" y="274638"/>
            <a:ext cx="10975975" cy="9949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0902" tIns="60451" rIns="120902" bIns="60451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fr-FR" dirty="0"/>
              <a:t>Modifiez le style du titre</a:t>
            </a:r>
            <a:endParaRPr lang="fr-CA" altLang="fr-FR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368" r:id="rId1"/>
    <p:sldLayoutId id="2147484361" r:id="rId2"/>
  </p:sldLayoutIdLst>
  <p:hf hdr="0" ftr="0" dt="0"/>
  <p:txStyles>
    <p:titleStyle>
      <a:lvl1pPr algn="l" defTabSz="680992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200" kern="1200">
          <a:solidFill>
            <a:schemeClr val="tx2"/>
          </a:solidFill>
          <a:latin typeface="+mn-lt"/>
          <a:ea typeface="+mj-ea"/>
          <a:cs typeface="+mj-cs"/>
        </a:defRPr>
      </a:lvl1pPr>
      <a:lvl2pPr algn="l" defTabSz="680992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Calibri" pitchFamily="34" charset="0"/>
        </a:defRPr>
      </a:lvl2pPr>
      <a:lvl3pPr algn="l" defTabSz="680992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Calibri" pitchFamily="34" charset="0"/>
        </a:defRPr>
      </a:lvl3pPr>
      <a:lvl4pPr algn="l" defTabSz="680992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Calibri" pitchFamily="34" charset="0"/>
        </a:defRPr>
      </a:lvl4pPr>
      <a:lvl5pPr algn="l" defTabSz="680992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Calibri" pitchFamily="34" charset="0"/>
        </a:defRPr>
      </a:lvl5pPr>
      <a:lvl6pPr marL="457170" algn="l" defTabSz="680992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Calibri" pitchFamily="34" charset="0"/>
        </a:defRPr>
      </a:lvl6pPr>
      <a:lvl7pPr marL="914339" algn="l" defTabSz="680992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Calibri" pitchFamily="34" charset="0"/>
        </a:defRPr>
      </a:lvl7pPr>
      <a:lvl8pPr marL="1371509" algn="l" defTabSz="680992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Calibri" pitchFamily="34" charset="0"/>
        </a:defRPr>
      </a:lvl8pPr>
      <a:lvl9pPr marL="1828678" algn="l" defTabSz="680992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Calibri" pitchFamily="34" charset="0"/>
        </a:defRPr>
      </a:lvl9pPr>
    </p:titleStyle>
    <p:bodyStyle>
      <a:lvl1pPr algn="l" defTabSz="680992" rtl="0" eaLnBrk="1" fontAlgn="base" hangingPunct="1">
        <a:spcBef>
          <a:spcPct val="0"/>
        </a:spcBef>
        <a:spcAft>
          <a:spcPct val="0"/>
        </a:spcAft>
        <a:buFont typeface="Arial" pitchFamily="34" charset="0"/>
        <a:defRPr sz="2000" b="1" kern="1200">
          <a:solidFill>
            <a:schemeClr val="accent1"/>
          </a:solidFill>
          <a:latin typeface="+mn-lt"/>
          <a:ea typeface="+mn-ea"/>
          <a:cs typeface="+mn-cs"/>
        </a:defRPr>
      </a:lvl1pPr>
      <a:lvl2pPr marL="300017" indent="-273032" algn="l" defTabSz="680992" rtl="0" eaLnBrk="1" fontAlgn="base" hangingPunct="1">
        <a:spcBef>
          <a:spcPct val="0"/>
        </a:spcBef>
        <a:spcAft>
          <a:spcPct val="0"/>
        </a:spcAft>
        <a:buFont typeface="Calibri" pitchFamily="34" charset="0"/>
        <a:buChar char="–"/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1111176" indent="-300017" algn="l" defTabSz="680992" rtl="0" eaLnBrk="1" fontAlgn="base" hangingPunct="1">
        <a:spcBef>
          <a:spcPct val="0"/>
        </a:spcBef>
        <a:spcAft>
          <a:spcPct val="0"/>
        </a:spcAft>
        <a:buFont typeface="Arial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498500" indent="-300017" algn="l" defTabSz="680992" rtl="0" eaLnBrk="1" fontAlgn="base" hangingPunct="1">
        <a:spcBef>
          <a:spcPct val="0"/>
        </a:spcBef>
        <a:spcAft>
          <a:spcPct val="0"/>
        </a:spcAft>
        <a:buFont typeface="Arial" pitchFamily="34" charset="0"/>
        <a:buChar char="–"/>
        <a:defRPr sz="1300" kern="1200">
          <a:solidFill>
            <a:schemeClr val="tx1"/>
          </a:solidFill>
          <a:latin typeface="+mn-lt"/>
          <a:ea typeface="+mn-ea"/>
          <a:cs typeface="+mn-cs"/>
        </a:defRPr>
      </a:lvl4pPr>
      <a:lvl5pPr marL="2001704" indent="-296843" algn="l" defTabSz="680992" rtl="0" eaLnBrk="1" fontAlgn="base" hangingPunct="1">
        <a:spcBef>
          <a:spcPct val="0"/>
        </a:spcBef>
        <a:spcAft>
          <a:spcPct val="0"/>
        </a:spcAft>
        <a:buFont typeface="Arial" pitchFamily="34" charset="0"/>
        <a:buChar char="–"/>
        <a:defRPr sz="1300" kern="1200">
          <a:solidFill>
            <a:schemeClr val="tx1"/>
          </a:solidFill>
          <a:latin typeface="+mn-lt"/>
          <a:ea typeface="+mn-ea"/>
          <a:cs typeface="+mn-cs"/>
        </a:defRPr>
      </a:lvl5pPr>
      <a:lvl6pPr marL="3754044" indent="-341278" algn="l" defTabSz="682554" rtl="0" eaLnBrk="1" latinLnBrk="0" hangingPunct="1">
        <a:spcBef>
          <a:spcPct val="20000"/>
        </a:spcBef>
        <a:buFont typeface="Arial"/>
        <a:buChar char="•"/>
        <a:defRPr sz="3100" kern="1200">
          <a:solidFill>
            <a:schemeClr val="tx1"/>
          </a:solidFill>
          <a:latin typeface="+mn-lt"/>
          <a:ea typeface="+mn-ea"/>
          <a:cs typeface="+mn-cs"/>
        </a:defRPr>
      </a:lvl6pPr>
      <a:lvl7pPr marL="4436596" indent="-341278" algn="l" defTabSz="682554" rtl="0" eaLnBrk="1" latinLnBrk="0" hangingPunct="1">
        <a:spcBef>
          <a:spcPct val="20000"/>
        </a:spcBef>
        <a:buFont typeface="Arial"/>
        <a:buChar char="•"/>
        <a:defRPr sz="3100" kern="1200">
          <a:solidFill>
            <a:schemeClr val="tx1"/>
          </a:solidFill>
          <a:latin typeface="+mn-lt"/>
          <a:ea typeface="+mn-ea"/>
          <a:cs typeface="+mn-cs"/>
        </a:defRPr>
      </a:lvl7pPr>
      <a:lvl8pPr marL="5119152" indent="-341278" algn="l" defTabSz="682554" rtl="0" eaLnBrk="1" latinLnBrk="0" hangingPunct="1">
        <a:spcBef>
          <a:spcPct val="20000"/>
        </a:spcBef>
        <a:buFont typeface="Arial"/>
        <a:buChar char="•"/>
        <a:defRPr sz="3100" kern="1200">
          <a:solidFill>
            <a:schemeClr val="tx1"/>
          </a:solidFill>
          <a:latin typeface="+mn-lt"/>
          <a:ea typeface="+mn-ea"/>
          <a:cs typeface="+mn-cs"/>
        </a:defRPr>
      </a:lvl8pPr>
      <a:lvl9pPr marL="5801703" indent="-341278" algn="l" defTabSz="682554" rtl="0" eaLnBrk="1" latinLnBrk="0" hangingPunct="1">
        <a:spcBef>
          <a:spcPct val="20000"/>
        </a:spcBef>
        <a:buFont typeface="Arial"/>
        <a:buChar char="•"/>
        <a:defRPr sz="31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682554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1pPr>
      <a:lvl2pPr marL="682554" algn="l" defTabSz="682554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2pPr>
      <a:lvl3pPr marL="1365102" algn="l" defTabSz="682554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3pPr>
      <a:lvl4pPr marL="2047663" algn="l" defTabSz="682554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4pPr>
      <a:lvl5pPr marL="2730215" algn="l" defTabSz="682554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5pPr>
      <a:lvl6pPr marL="3412768" algn="l" defTabSz="682554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6pPr>
      <a:lvl7pPr marL="4095320" algn="l" defTabSz="682554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7pPr>
      <a:lvl8pPr marL="4777874" algn="l" defTabSz="682554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8pPr>
      <a:lvl9pPr marL="5460428" algn="l" defTabSz="682554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07072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t 8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5" imgW="216" imgH="216" progId="TCLayout.ActiveDocument.1">
                  <p:embed/>
                </p:oleObj>
              </mc:Choice>
              <mc:Fallback>
                <p:oleObj name="Diapositive think-cell" r:id="rId5" imgW="216" imgH="216" progId="TCLayout.ActiveDocument.1">
                  <p:embed/>
                  <p:pic>
                    <p:nvPicPr>
                      <p:cNvPr id="9" name="Objet 8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/>
          <p:cNvSpPr/>
          <p:nvPr>
            <p:custDataLst>
              <p:tags r:id="rId4"/>
            </p:custDataLst>
          </p:nvPr>
        </p:nvSpPr>
        <p:spPr bwMode="auto">
          <a:xfrm>
            <a:off x="0" y="1"/>
            <a:ext cx="158751" cy="158750"/>
          </a:xfrm>
          <a:prstGeom prst="rect">
            <a:avLst/>
          </a:prstGeom>
          <a:noFill/>
          <a:ln w="9525">
            <a:solidFill>
              <a:schemeClr val="tx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lIns="0" tIns="0" rIns="0" bIns="0" rtlCol="0" anchor="ctr"/>
          <a:lstStyle/>
          <a:p>
            <a:pPr marL="0" lvl="0" indent="0" algn="ctr" eaLnBrk="0"/>
            <a:endParaRPr lang="fr-FR" sz="3200" b="0" i="0" baseline="0">
              <a:latin typeface="Calibri"/>
              <a:ea typeface="+mj-ea"/>
              <a:cs typeface="+mj-cs"/>
              <a:sym typeface="Calibri"/>
            </a:endParaRPr>
          </a:p>
        </p:txBody>
      </p:sp>
      <p:pic>
        <p:nvPicPr>
          <p:cNvPr id="1026" name="Objet 4"/>
          <p:cNvPicPr>
            <a:picLocks noChangeAspect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1589" y="1588"/>
            <a:ext cx="3175" cy="1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27" name="Objet 3"/>
          <p:cNvPicPr>
            <a:picLocks noChangeAspect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1589" y="1588"/>
            <a:ext cx="3175" cy="1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28" name="Espace réservé du texte 2"/>
          <p:cNvSpPr>
            <a:spLocks noGrp="1"/>
          </p:cNvSpPr>
          <p:nvPr>
            <p:ph type="body" idx="1"/>
          </p:nvPr>
        </p:nvSpPr>
        <p:spPr bwMode="auto">
          <a:xfrm>
            <a:off x="608013" y="1413570"/>
            <a:ext cx="10975975" cy="47157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02363" tIns="51178" rIns="102363" bIns="51178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fr-FR"/>
              <a:t>Modifiez les styles du texte du masque</a:t>
            </a:r>
          </a:p>
          <a:p>
            <a:pPr lvl="1"/>
            <a:r>
              <a:rPr lang="fr-FR" altLang="fr-FR"/>
              <a:t>Deuxième niveau</a:t>
            </a:r>
          </a:p>
          <a:p>
            <a:pPr lvl="2"/>
            <a:r>
              <a:rPr lang="fr-FR" altLang="fr-FR"/>
              <a:t>Troisième niveau</a:t>
            </a:r>
          </a:p>
          <a:p>
            <a:pPr lvl="3"/>
            <a:r>
              <a:rPr lang="fr-FR" altLang="fr-FR"/>
              <a:t>Quatrième niveau</a:t>
            </a:r>
          </a:p>
          <a:p>
            <a:pPr lvl="4"/>
            <a:r>
              <a:rPr lang="fr-FR" altLang="fr-FR"/>
              <a:t>Cinquième niveau</a:t>
            </a:r>
            <a:endParaRPr lang="fr-CA" altLang="fr-FR"/>
          </a:p>
        </p:txBody>
      </p:sp>
      <p:sp>
        <p:nvSpPr>
          <p:cNvPr id="1030" name="Espace réservé du titre 10"/>
          <p:cNvSpPr>
            <a:spLocks noGrp="1"/>
          </p:cNvSpPr>
          <p:nvPr>
            <p:ph type="title"/>
          </p:nvPr>
        </p:nvSpPr>
        <p:spPr bwMode="auto">
          <a:xfrm>
            <a:off x="608013" y="274638"/>
            <a:ext cx="10975975" cy="9949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0902" tIns="60451" rIns="120902" bIns="60451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fr-FR"/>
              <a:t>Modifiez le style du titre</a:t>
            </a:r>
            <a:endParaRPr lang="fr-CA" altLang="fr-FR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371" r:id="rId1"/>
  </p:sldLayoutIdLst>
  <p:hf hdr="0" ftr="0" dt="0"/>
  <p:txStyles>
    <p:titleStyle>
      <a:lvl1pPr algn="l" defTabSz="680992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200" kern="1200">
          <a:solidFill>
            <a:schemeClr val="tx2"/>
          </a:solidFill>
          <a:latin typeface="+mn-lt"/>
          <a:ea typeface="+mj-ea"/>
          <a:cs typeface="+mj-cs"/>
        </a:defRPr>
      </a:lvl1pPr>
      <a:lvl2pPr algn="l" defTabSz="680992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Calibri" pitchFamily="34" charset="0"/>
        </a:defRPr>
      </a:lvl2pPr>
      <a:lvl3pPr algn="l" defTabSz="680992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Calibri" pitchFamily="34" charset="0"/>
        </a:defRPr>
      </a:lvl3pPr>
      <a:lvl4pPr algn="l" defTabSz="680992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Calibri" pitchFamily="34" charset="0"/>
        </a:defRPr>
      </a:lvl4pPr>
      <a:lvl5pPr algn="l" defTabSz="680992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Calibri" pitchFamily="34" charset="0"/>
        </a:defRPr>
      </a:lvl5pPr>
      <a:lvl6pPr marL="457170" algn="l" defTabSz="680992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Calibri" pitchFamily="34" charset="0"/>
        </a:defRPr>
      </a:lvl6pPr>
      <a:lvl7pPr marL="914339" algn="l" defTabSz="680992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Calibri" pitchFamily="34" charset="0"/>
        </a:defRPr>
      </a:lvl7pPr>
      <a:lvl8pPr marL="1371509" algn="l" defTabSz="680992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Calibri" pitchFamily="34" charset="0"/>
        </a:defRPr>
      </a:lvl8pPr>
      <a:lvl9pPr marL="1828678" algn="l" defTabSz="680992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Calibri" pitchFamily="34" charset="0"/>
        </a:defRPr>
      </a:lvl9pPr>
    </p:titleStyle>
    <p:bodyStyle>
      <a:lvl1pPr algn="l" defTabSz="680992" rtl="0" eaLnBrk="1" fontAlgn="base" hangingPunct="1">
        <a:spcBef>
          <a:spcPct val="0"/>
        </a:spcBef>
        <a:spcAft>
          <a:spcPct val="0"/>
        </a:spcAft>
        <a:buFont typeface="Arial" pitchFamily="34" charset="0"/>
        <a:defRPr sz="2000" b="1" kern="1200">
          <a:solidFill>
            <a:schemeClr val="accent1"/>
          </a:solidFill>
          <a:latin typeface="+mn-lt"/>
          <a:ea typeface="+mn-ea"/>
          <a:cs typeface="+mn-cs"/>
        </a:defRPr>
      </a:lvl1pPr>
      <a:lvl2pPr marL="300017" indent="-273032" algn="l" defTabSz="680992" rtl="0" eaLnBrk="1" fontAlgn="base" hangingPunct="1">
        <a:spcBef>
          <a:spcPct val="0"/>
        </a:spcBef>
        <a:spcAft>
          <a:spcPct val="0"/>
        </a:spcAft>
        <a:buFont typeface="Calibri" pitchFamily="34" charset="0"/>
        <a:buChar char="–"/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1111176" indent="-300017" algn="l" defTabSz="680992" rtl="0" eaLnBrk="1" fontAlgn="base" hangingPunct="1">
        <a:spcBef>
          <a:spcPct val="0"/>
        </a:spcBef>
        <a:spcAft>
          <a:spcPct val="0"/>
        </a:spcAft>
        <a:buFont typeface="Arial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498500" indent="-300017" algn="l" defTabSz="680992" rtl="0" eaLnBrk="1" fontAlgn="base" hangingPunct="1">
        <a:spcBef>
          <a:spcPct val="0"/>
        </a:spcBef>
        <a:spcAft>
          <a:spcPct val="0"/>
        </a:spcAft>
        <a:buFont typeface="Arial" pitchFamily="34" charset="0"/>
        <a:buChar char="–"/>
        <a:defRPr sz="1300" kern="1200">
          <a:solidFill>
            <a:schemeClr val="tx1"/>
          </a:solidFill>
          <a:latin typeface="+mn-lt"/>
          <a:ea typeface="+mn-ea"/>
          <a:cs typeface="+mn-cs"/>
        </a:defRPr>
      </a:lvl4pPr>
      <a:lvl5pPr marL="2001704" indent="-296843" algn="l" defTabSz="680992" rtl="0" eaLnBrk="1" fontAlgn="base" hangingPunct="1">
        <a:spcBef>
          <a:spcPct val="0"/>
        </a:spcBef>
        <a:spcAft>
          <a:spcPct val="0"/>
        </a:spcAft>
        <a:buFont typeface="Arial" pitchFamily="34" charset="0"/>
        <a:buChar char="–"/>
        <a:defRPr sz="1300" kern="1200">
          <a:solidFill>
            <a:schemeClr val="tx1"/>
          </a:solidFill>
          <a:latin typeface="+mn-lt"/>
          <a:ea typeface="+mn-ea"/>
          <a:cs typeface="+mn-cs"/>
        </a:defRPr>
      </a:lvl5pPr>
      <a:lvl6pPr marL="3754044" indent="-341278" algn="l" defTabSz="682554" rtl="0" eaLnBrk="1" latinLnBrk="0" hangingPunct="1">
        <a:spcBef>
          <a:spcPct val="20000"/>
        </a:spcBef>
        <a:buFont typeface="Arial"/>
        <a:buChar char="•"/>
        <a:defRPr sz="3100" kern="1200">
          <a:solidFill>
            <a:schemeClr val="tx1"/>
          </a:solidFill>
          <a:latin typeface="+mn-lt"/>
          <a:ea typeface="+mn-ea"/>
          <a:cs typeface="+mn-cs"/>
        </a:defRPr>
      </a:lvl6pPr>
      <a:lvl7pPr marL="4436596" indent="-341278" algn="l" defTabSz="682554" rtl="0" eaLnBrk="1" latinLnBrk="0" hangingPunct="1">
        <a:spcBef>
          <a:spcPct val="20000"/>
        </a:spcBef>
        <a:buFont typeface="Arial"/>
        <a:buChar char="•"/>
        <a:defRPr sz="3100" kern="1200">
          <a:solidFill>
            <a:schemeClr val="tx1"/>
          </a:solidFill>
          <a:latin typeface="+mn-lt"/>
          <a:ea typeface="+mn-ea"/>
          <a:cs typeface="+mn-cs"/>
        </a:defRPr>
      </a:lvl7pPr>
      <a:lvl8pPr marL="5119152" indent="-341278" algn="l" defTabSz="682554" rtl="0" eaLnBrk="1" latinLnBrk="0" hangingPunct="1">
        <a:spcBef>
          <a:spcPct val="20000"/>
        </a:spcBef>
        <a:buFont typeface="Arial"/>
        <a:buChar char="•"/>
        <a:defRPr sz="3100" kern="1200">
          <a:solidFill>
            <a:schemeClr val="tx1"/>
          </a:solidFill>
          <a:latin typeface="+mn-lt"/>
          <a:ea typeface="+mn-ea"/>
          <a:cs typeface="+mn-cs"/>
        </a:defRPr>
      </a:lvl8pPr>
      <a:lvl9pPr marL="5801703" indent="-341278" algn="l" defTabSz="682554" rtl="0" eaLnBrk="1" latinLnBrk="0" hangingPunct="1">
        <a:spcBef>
          <a:spcPct val="20000"/>
        </a:spcBef>
        <a:buFont typeface="Arial"/>
        <a:buChar char="•"/>
        <a:defRPr sz="31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682554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1pPr>
      <a:lvl2pPr marL="682554" algn="l" defTabSz="682554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2pPr>
      <a:lvl3pPr marL="1365102" algn="l" defTabSz="682554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3pPr>
      <a:lvl4pPr marL="2047663" algn="l" defTabSz="682554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4pPr>
      <a:lvl5pPr marL="2730215" algn="l" defTabSz="682554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5pPr>
      <a:lvl6pPr marL="3412768" algn="l" defTabSz="682554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6pPr>
      <a:lvl7pPr marL="4095320" algn="l" defTabSz="682554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7pPr>
      <a:lvl8pPr marL="4777874" algn="l" defTabSz="682554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8pPr>
      <a:lvl9pPr marL="5460428" algn="l" defTabSz="682554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07072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Objet 8"/>
          <p:cNvPicPr>
            <a:picLocks noChangeAspect="1"/>
          </p:cNvPicPr>
          <p:nvPr/>
        </p:nvPicPr>
        <p:blipFill>
          <a:blip cstate="print"/>
          <a:stretch>
            <a:fillRect/>
          </a:stretch>
        </p:blipFill>
        <p:spPr>
          <a:xfrm>
            <a:off x="1589" y="1589"/>
            <a:ext cx="1588" cy="1588"/>
          </a:xfrm>
          <a:prstGeom prst="rect">
            <a:avLst/>
          </a:prstGeom>
        </p:spPr>
      </p:pic>
      <p:sp>
        <p:nvSpPr>
          <p:cNvPr id="8" name="Rectangle 7" hidden="1"/>
          <p:cNvSpPr/>
          <p:nvPr>
            <p:custDataLst>
              <p:tags r:id="rId3"/>
            </p:custDataLst>
          </p:nvPr>
        </p:nvSpPr>
        <p:spPr bwMode="auto">
          <a:xfrm>
            <a:off x="0" y="1"/>
            <a:ext cx="158751" cy="158750"/>
          </a:xfrm>
          <a:prstGeom prst="rect">
            <a:avLst/>
          </a:prstGeom>
          <a:noFill/>
          <a:ln w="9525">
            <a:solidFill>
              <a:schemeClr val="tx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lIns="0" tIns="0" rIns="0" bIns="0" rtlCol="0" anchor="ctr"/>
          <a:lstStyle/>
          <a:p>
            <a:pPr marL="0" lvl="0" indent="0" algn="ctr" eaLnBrk="0"/>
            <a:endParaRPr lang="fr-FR" sz="3200" b="0" i="0" baseline="0">
              <a:latin typeface="Calibri"/>
              <a:ea typeface="+mj-ea"/>
              <a:cs typeface="+mj-cs"/>
              <a:sym typeface="Calibri"/>
            </a:endParaRPr>
          </a:p>
        </p:txBody>
      </p:sp>
      <p:pic>
        <p:nvPicPr>
          <p:cNvPr id="1026" name="Objet 4"/>
          <p:cNvPicPr>
            <a:picLocks noChangeAspect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1589" y="1589"/>
            <a:ext cx="3175" cy="1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27" name="Objet 3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9" y="1589"/>
            <a:ext cx="3175" cy="1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28" name="Espace réservé du texte 2"/>
          <p:cNvSpPr>
            <a:spLocks noGrp="1"/>
          </p:cNvSpPr>
          <p:nvPr>
            <p:ph type="body" idx="1"/>
          </p:nvPr>
        </p:nvSpPr>
        <p:spPr bwMode="auto">
          <a:xfrm>
            <a:off x="608014" y="1413570"/>
            <a:ext cx="10975975" cy="47157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02363" tIns="51178" rIns="102363" bIns="51178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fr-FR"/>
              <a:t>Modifiez les styles du texte du masque</a:t>
            </a:r>
          </a:p>
          <a:p>
            <a:pPr lvl="1"/>
            <a:r>
              <a:rPr lang="fr-FR" altLang="fr-FR"/>
              <a:t>Deuxième niveau</a:t>
            </a:r>
          </a:p>
          <a:p>
            <a:pPr lvl="2"/>
            <a:r>
              <a:rPr lang="fr-FR" altLang="fr-FR"/>
              <a:t>Troisième niveau</a:t>
            </a:r>
          </a:p>
          <a:p>
            <a:pPr lvl="3"/>
            <a:r>
              <a:rPr lang="fr-FR" altLang="fr-FR"/>
              <a:t>Quatrième niveau</a:t>
            </a:r>
          </a:p>
          <a:p>
            <a:pPr lvl="4"/>
            <a:r>
              <a:rPr lang="fr-FR" altLang="fr-FR"/>
              <a:t>Cinquième niveau</a:t>
            </a:r>
            <a:endParaRPr lang="fr-CA" altLang="fr-FR"/>
          </a:p>
        </p:txBody>
      </p:sp>
      <p:sp>
        <p:nvSpPr>
          <p:cNvPr id="1030" name="Espace réservé du titre 10"/>
          <p:cNvSpPr>
            <a:spLocks noGrp="1"/>
          </p:cNvSpPr>
          <p:nvPr>
            <p:ph type="title"/>
          </p:nvPr>
        </p:nvSpPr>
        <p:spPr bwMode="auto">
          <a:xfrm>
            <a:off x="608014" y="274638"/>
            <a:ext cx="10975975" cy="9949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0902" tIns="60451" rIns="120902" bIns="60451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fr-FR"/>
              <a:t>Modifiez le style du titre</a:t>
            </a:r>
            <a:endParaRPr lang="fr-CA" altLang="fr-FR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375" r:id="rId1"/>
  </p:sldLayoutIdLst>
  <p:hf hdr="0" dt="0"/>
  <p:txStyles>
    <p:titleStyle>
      <a:lvl1pPr algn="l" defTabSz="680992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200" kern="1200">
          <a:solidFill>
            <a:schemeClr val="tx2"/>
          </a:solidFill>
          <a:latin typeface="+mn-lt"/>
          <a:ea typeface="+mj-ea"/>
          <a:cs typeface="+mj-cs"/>
        </a:defRPr>
      </a:lvl1pPr>
      <a:lvl2pPr algn="l" defTabSz="680992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Calibri" pitchFamily="34" charset="0"/>
        </a:defRPr>
      </a:lvl2pPr>
      <a:lvl3pPr algn="l" defTabSz="680992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Calibri" pitchFamily="34" charset="0"/>
        </a:defRPr>
      </a:lvl3pPr>
      <a:lvl4pPr algn="l" defTabSz="680992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Calibri" pitchFamily="34" charset="0"/>
        </a:defRPr>
      </a:lvl4pPr>
      <a:lvl5pPr algn="l" defTabSz="680992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Calibri" pitchFamily="34" charset="0"/>
        </a:defRPr>
      </a:lvl5pPr>
      <a:lvl6pPr marL="457170" algn="l" defTabSz="680992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Calibri" pitchFamily="34" charset="0"/>
        </a:defRPr>
      </a:lvl6pPr>
      <a:lvl7pPr marL="914339" algn="l" defTabSz="680992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Calibri" pitchFamily="34" charset="0"/>
        </a:defRPr>
      </a:lvl7pPr>
      <a:lvl8pPr marL="1371509" algn="l" defTabSz="680992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Calibri" pitchFamily="34" charset="0"/>
        </a:defRPr>
      </a:lvl8pPr>
      <a:lvl9pPr marL="1828678" algn="l" defTabSz="680992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Calibri" pitchFamily="34" charset="0"/>
        </a:defRPr>
      </a:lvl9pPr>
    </p:titleStyle>
    <p:bodyStyle>
      <a:lvl1pPr algn="l" defTabSz="680992" rtl="0" eaLnBrk="1" fontAlgn="base" hangingPunct="1">
        <a:spcBef>
          <a:spcPct val="0"/>
        </a:spcBef>
        <a:spcAft>
          <a:spcPct val="0"/>
        </a:spcAft>
        <a:buFont typeface="Arial" pitchFamily="34" charset="0"/>
        <a:defRPr sz="2000" b="1" kern="1200">
          <a:solidFill>
            <a:schemeClr val="accent1"/>
          </a:solidFill>
          <a:latin typeface="+mn-lt"/>
          <a:ea typeface="+mn-ea"/>
          <a:cs typeface="+mn-cs"/>
        </a:defRPr>
      </a:lvl1pPr>
      <a:lvl2pPr marL="300017" indent="-273032" algn="l" defTabSz="680992" rtl="0" eaLnBrk="1" fontAlgn="base" hangingPunct="1">
        <a:spcBef>
          <a:spcPct val="0"/>
        </a:spcBef>
        <a:spcAft>
          <a:spcPct val="0"/>
        </a:spcAft>
        <a:buFont typeface="Calibri" pitchFamily="34" charset="0"/>
        <a:buChar char="–"/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1111176" indent="-300017" algn="l" defTabSz="680992" rtl="0" eaLnBrk="1" fontAlgn="base" hangingPunct="1">
        <a:spcBef>
          <a:spcPct val="0"/>
        </a:spcBef>
        <a:spcAft>
          <a:spcPct val="0"/>
        </a:spcAft>
        <a:buFont typeface="Arial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498500" indent="-300017" algn="l" defTabSz="680992" rtl="0" eaLnBrk="1" fontAlgn="base" hangingPunct="1">
        <a:spcBef>
          <a:spcPct val="0"/>
        </a:spcBef>
        <a:spcAft>
          <a:spcPct val="0"/>
        </a:spcAft>
        <a:buFont typeface="Arial" pitchFamily="34" charset="0"/>
        <a:buChar char="–"/>
        <a:defRPr sz="1300" kern="1200">
          <a:solidFill>
            <a:schemeClr val="tx1"/>
          </a:solidFill>
          <a:latin typeface="+mn-lt"/>
          <a:ea typeface="+mn-ea"/>
          <a:cs typeface="+mn-cs"/>
        </a:defRPr>
      </a:lvl4pPr>
      <a:lvl5pPr marL="2001704" indent="-296843" algn="l" defTabSz="680992" rtl="0" eaLnBrk="1" fontAlgn="base" hangingPunct="1">
        <a:spcBef>
          <a:spcPct val="0"/>
        </a:spcBef>
        <a:spcAft>
          <a:spcPct val="0"/>
        </a:spcAft>
        <a:buFont typeface="Arial" pitchFamily="34" charset="0"/>
        <a:buChar char="–"/>
        <a:defRPr sz="1300" kern="1200">
          <a:solidFill>
            <a:schemeClr val="tx1"/>
          </a:solidFill>
          <a:latin typeface="+mn-lt"/>
          <a:ea typeface="+mn-ea"/>
          <a:cs typeface="+mn-cs"/>
        </a:defRPr>
      </a:lvl5pPr>
      <a:lvl6pPr marL="3754044" indent="-341278" algn="l" defTabSz="682554" rtl="0" eaLnBrk="1" latinLnBrk="0" hangingPunct="1">
        <a:spcBef>
          <a:spcPct val="20000"/>
        </a:spcBef>
        <a:buFont typeface="Arial"/>
        <a:buChar char="•"/>
        <a:defRPr sz="3100" kern="1200">
          <a:solidFill>
            <a:schemeClr val="tx1"/>
          </a:solidFill>
          <a:latin typeface="+mn-lt"/>
          <a:ea typeface="+mn-ea"/>
          <a:cs typeface="+mn-cs"/>
        </a:defRPr>
      </a:lvl6pPr>
      <a:lvl7pPr marL="4436596" indent="-341278" algn="l" defTabSz="682554" rtl="0" eaLnBrk="1" latinLnBrk="0" hangingPunct="1">
        <a:spcBef>
          <a:spcPct val="20000"/>
        </a:spcBef>
        <a:buFont typeface="Arial"/>
        <a:buChar char="•"/>
        <a:defRPr sz="3100" kern="1200">
          <a:solidFill>
            <a:schemeClr val="tx1"/>
          </a:solidFill>
          <a:latin typeface="+mn-lt"/>
          <a:ea typeface="+mn-ea"/>
          <a:cs typeface="+mn-cs"/>
        </a:defRPr>
      </a:lvl7pPr>
      <a:lvl8pPr marL="5119152" indent="-341278" algn="l" defTabSz="682554" rtl="0" eaLnBrk="1" latinLnBrk="0" hangingPunct="1">
        <a:spcBef>
          <a:spcPct val="20000"/>
        </a:spcBef>
        <a:buFont typeface="Arial"/>
        <a:buChar char="•"/>
        <a:defRPr sz="3100" kern="1200">
          <a:solidFill>
            <a:schemeClr val="tx1"/>
          </a:solidFill>
          <a:latin typeface="+mn-lt"/>
          <a:ea typeface="+mn-ea"/>
          <a:cs typeface="+mn-cs"/>
        </a:defRPr>
      </a:lvl8pPr>
      <a:lvl9pPr marL="5801703" indent="-341278" algn="l" defTabSz="682554" rtl="0" eaLnBrk="1" latinLnBrk="0" hangingPunct="1">
        <a:spcBef>
          <a:spcPct val="20000"/>
        </a:spcBef>
        <a:buFont typeface="Arial"/>
        <a:buChar char="•"/>
        <a:defRPr sz="31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682554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1pPr>
      <a:lvl2pPr marL="682554" algn="l" defTabSz="682554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2pPr>
      <a:lvl3pPr marL="1365102" algn="l" defTabSz="682554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3pPr>
      <a:lvl4pPr marL="2047663" algn="l" defTabSz="682554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4pPr>
      <a:lvl5pPr marL="2730215" algn="l" defTabSz="682554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5pPr>
      <a:lvl6pPr marL="3412768" algn="l" defTabSz="682554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6pPr>
      <a:lvl7pPr marL="4095320" algn="l" defTabSz="682554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7pPr>
      <a:lvl8pPr marL="4777874" algn="l" defTabSz="682554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8pPr>
      <a:lvl9pPr marL="5460428" algn="l" defTabSz="682554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7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1.svg"/><Relationship Id="rId3" Type="http://schemas.openxmlformats.org/officeDocument/2006/relationships/image" Target="../media/image46.png"/><Relationship Id="rId7" Type="http://schemas.openxmlformats.org/officeDocument/2006/relationships/image" Target="../media/image50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49.png"/><Relationship Id="rId5" Type="http://schemas.openxmlformats.org/officeDocument/2006/relationships/image" Target="../media/image48.png"/><Relationship Id="rId4" Type="http://schemas.openxmlformats.org/officeDocument/2006/relationships/image" Target="../media/image47.svg"/><Relationship Id="rId9" Type="http://schemas.openxmlformats.org/officeDocument/2006/relationships/hyperlink" Target="https://github.com/hashicorp/terraform" TargetMode="Externa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5.png"/><Relationship Id="rId13" Type="http://schemas.openxmlformats.org/officeDocument/2006/relationships/image" Target="../media/image60.png"/><Relationship Id="rId18" Type="http://schemas.openxmlformats.org/officeDocument/2006/relationships/image" Target="../media/image65.svg"/><Relationship Id="rId26" Type="http://schemas.openxmlformats.org/officeDocument/2006/relationships/image" Target="../media/image21.svg"/><Relationship Id="rId3" Type="http://schemas.openxmlformats.org/officeDocument/2006/relationships/slideLayout" Target="../slideLayouts/slideLayout13.xml"/><Relationship Id="rId21" Type="http://schemas.openxmlformats.org/officeDocument/2006/relationships/image" Target="../media/image44.png"/><Relationship Id="rId7" Type="http://schemas.openxmlformats.org/officeDocument/2006/relationships/image" Target="../media/image54.svg"/><Relationship Id="rId12" Type="http://schemas.openxmlformats.org/officeDocument/2006/relationships/image" Target="../media/image59.png"/><Relationship Id="rId17" Type="http://schemas.openxmlformats.org/officeDocument/2006/relationships/image" Target="../media/image64.png"/><Relationship Id="rId25" Type="http://schemas.openxmlformats.org/officeDocument/2006/relationships/image" Target="../media/image20.png"/><Relationship Id="rId2" Type="http://schemas.microsoft.com/office/2007/relationships/media" Target="../media/media1.mp3"/><Relationship Id="rId16" Type="http://schemas.openxmlformats.org/officeDocument/2006/relationships/image" Target="../media/image63.svg"/><Relationship Id="rId20" Type="http://schemas.openxmlformats.org/officeDocument/2006/relationships/image" Target="../media/image67.svg"/><Relationship Id="rId29" Type="http://schemas.openxmlformats.org/officeDocument/2006/relationships/image" Target="../media/image72.png"/><Relationship Id="rId1" Type="http://schemas.openxmlformats.org/officeDocument/2006/relationships/audio" Target="NULL" TargetMode="External"/><Relationship Id="rId6" Type="http://schemas.openxmlformats.org/officeDocument/2006/relationships/image" Target="../media/image53.png"/><Relationship Id="rId11" Type="http://schemas.openxmlformats.org/officeDocument/2006/relationships/image" Target="../media/image58.svg"/><Relationship Id="rId24" Type="http://schemas.openxmlformats.org/officeDocument/2006/relationships/image" Target="../media/image69.svg"/><Relationship Id="rId5" Type="http://schemas.openxmlformats.org/officeDocument/2006/relationships/image" Target="../media/image52.png"/><Relationship Id="rId15" Type="http://schemas.openxmlformats.org/officeDocument/2006/relationships/image" Target="../media/image62.png"/><Relationship Id="rId23" Type="http://schemas.openxmlformats.org/officeDocument/2006/relationships/image" Target="../media/image68.png"/><Relationship Id="rId28" Type="http://schemas.openxmlformats.org/officeDocument/2006/relationships/image" Target="../media/image71.svg"/><Relationship Id="rId10" Type="http://schemas.openxmlformats.org/officeDocument/2006/relationships/image" Target="../media/image57.png"/><Relationship Id="rId19" Type="http://schemas.openxmlformats.org/officeDocument/2006/relationships/image" Target="../media/image66.png"/><Relationship Id="rId4" Type="http://schemas.openxmlformats.org/officeDocument/2006/relationships/notesSlide" Target="../notesSlides/notesSlide9.xml"/><Relationship Id="rId9" Type="http://schemas.openxmlformats.org/officeDocument/2006/relationships/image" Target="../media/image56.svg"/><Relationship Id="rId14" Type="http://schemas.openxmlformats.org/officeDocument/2006/relationships/image" Target="../media/image61.svg"/><Relationship Id="rId22" Type="http://schemas.openxmlformats.org/officeDocument/2006/relationships/image" Target="../media/image45.svg"/><Relationship Id="rId27" Type="http://schemas.openxmlformats.org/officeDocument/2006/relationships/image" Target="../media/image70.pn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4.png"/><Relationship Id="rId3" Type="http://schemas.openxmlformats.org/officeDocument/2006/relationships/image" Target="../media/image73.jpeg"/><Relationship Id="rId7" Type="http://schemas.openxmlformats.org/officeDocument/2006/relationships/image" Target="../media/image77.jpe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76.svg"/><Relationship Id="rId5" Type="http://schemas.openxmlformats.org/officeDocument/2006/relationships/image" Target="../media/image75.png"/><Relationship Id="rId4" Type="http://schemas.openxmlformats.org/officeDocument/2006/relationships/image" Target="../media/image74.jpeg"/><Relationship Id="rId9" Type="http://schemas.openxmlformats.org/officeDocument/2006/relationships/image" Target="../media/image45.svg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5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8.jpe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3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83.svg"/><Relationship Id="rId3" Type="http://schemas.openxmlformats.org/officeDocument/2006/relationships/image" Target="../media/image79.gif"/><Relationship Id="rId7" Type="http://schemas.openxmlformats.org/officeDocument/2006/relationships/image" Target="../media/image82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81.svg"/><Relationship Id="rId5" Type="http://schemas.openxmlformats.org/officeDocument/2006/relationships/image" Target="../media/image80.png"/><Relationship Id="rId4" Type="http://schemas.openxmlformats.org/officeDocument/2006/relationships/hyperlink" Target="https://www.terraform.io/downloads.html" TargetMode="External"/><Relationship Id="rId9" Type="http://schemas.openxmlformats.org/officeDocument/2006/relationships/hyperlink" Target="https://github.com/actions/virtual-environments/blob/main/images/linux/Ubuntu2004-README.md#tools" TargetMode="External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89.svg"/><Relationship Id="rId3" Type="http://schemas.openxmlformats.org/officeDocument/2006/relationships/image" Target="../media/image84.png"/><Relationship Id="rId7" Type="http://schemas.openxmlformats.org/officeDocument/2006/relationships/image" Target="../media/image88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6.xml"/><Relationship Id="rId6" Type="http://schemas.openxmlformats.org/officeDocument/2006/relationships/image" Target="../media/image87.svg"/><Relationship Id="rId5" Type="http://schemas.openxmlformats.org/officeDocument/2006/relationships/image" Target="../media/image86.png"/><Relationship Id="rId4" Type="http://schemas.openxmlformats.org/officeDocument/2006/relationships/image" Target="../media/image85.sv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7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5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5.xml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95.svg"/><Relationship Id="rId3" Type="http://schemas.openxmlformats.org/officeDocument/2006/relationships/image" Target="../media/image90.png"/><Relationship Id="rId7" Type="http://schemas.openxmlformats.org/officeDocument/2006/relationships/image" Target="../media/image94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93.svg"/><Relationship Id="rId5" Type="http://schemas.openxmlformats.org/officeDocument/2006/relationships/image" Target="../media/image92.png"/><Relationship Id="rId4" Type="http://schemas.openxmlformats.org/officeDocument/2006/relationships/image" Target="../media/image91.svg"/><Relationship Id="rId9" Type="http://schemas.openxmlformats.org/officeDocument/2006/relationships/hyperlink" Target="https://learn.hashicorp.com/terraform" TargetMode="Externa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hyperlink" Target="https://registry.terraform.io/" TargetMode="External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98.png"/><Relationship Id="rId5" Type="http://schemas.openxmlformats.org/officeDocument/2006/relationships/image" Target="../media/image97.svg"/><Relationship Id="rId4" Type="http://schemas.openxmlformats.org/officeDocument/2006/relationships/image" Target="../media/image96.png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hyperlink" Target="https://meetup.com/azureqc" TargetMode="External"/><Relationship Id="rId2" Type="http://schemas.openxmlformats.org/officeDocument/2006/relationships/image" Target="../media/image99.tiff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01.tiff"/><Relationship Id="rId4" Type="http://schemas.openxmlformats.org/officeDocument/2006/relationships/image" Target="../media/image100.tiff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hyperlink" Target="https://ca.linkedin.com/in/pierrecavaroc/en-us" TargetMode="External"/><Relationship Id="rId3" Type="http://schemas.openxmlformats.org/officeDocument/2006/relationships/image" Target="../media/image8.png"/><Relationship Id="rId7" Type="http://schemas.openxmlformats.org/officeDocument/2006/relationships/image" Target="../media/image11.sv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10.png"/><Relationship Id="rId5" Type="http://schemas.openxmlformats.org/officeDocument/2006/relationships/hyperlink" Target="https://twitter.com/invvard" TargetMode="External"/><Relationship Id="rId4" Type="http://schemas.openxmlformats.org/officeDocument/2006/relationships/image" Target="../media/image9.svg"/><Relationship Id="rId9" Type="http://schemas.openxmlformats.org/officeDocument/2006/relationships/image" Target="../media/image12.jpe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slideLayout" Target="../slideLayouts/slideLayout22.xml"/><Relationship Id="rId7" Type="http://schemas.openxmlformats.org/officeDocument/2006/relationships/image" Target="../media/image13.png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notesSlide" Target="../notesSlides/notesSlide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3.xml"/><Relationship Id="rId5" Type="http://schemas.openxmlformats.org/officeDocument/2006/relationships/hyperlink" Target="https://www.qrcode-monkey.com/" TargetMode="External"/><Relationship Id="rId4" Type="http://schemas.openxmlformats.org/officeDocument/2006/relationships/hyperlink" Target="https://github.com/Invvard/DemoTerraform" TargetMode="Externa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svg"/><Relationship Id="rId13" Type="http://schemas.openxmlformats.org/officeDocument/2006/relationships/image" Target="../media/image26.png"/><Relationship Id="rId3" Type="http://schemas.openxmlformats.org/officeDocument/2006/relationships/image" Target="../media/image16.png"/><Relationship Id="rId7" Type="http://schemas.openxmlformats.org/officeDocument/2006/relationships/image" Target="../media/image20.png"/><Relationship Id="rId12" Type="http://schemas.openxmlformats.org/officeDocument/2006/relationships/image" Target="../media/image25.svg"/><Relationship Id="rId2" Type="http://schemas.openxmlformats.org/officeDocument/2006/relationships/notesSlide" Target="../notesSlides/notesSlide5.xml"/><Relationship Id="rId16" Type="http://schemas.openxmlformats.org/officeDocument/2006/relationships/image" Target="../media/image29.svg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19.svg"/><Relationship Id="rId11" Type="http://schemas.openxmlformats.org/officeDocument/2006/relationships/image" Target="../media/image24.png"/><Relationship Id="rId5" Type="http://schemas.openxmlformats.org/officeDocument/2006/relationships/image" Target="../media/image18.png"/><Relationship Id="rId15" Type="http://schemas.openxmlformats.org/officeDocument/2006/relationships/image" Target="../media/image28.png"/><Relationship Id="rId10" Type="http://schemas.openxmlformats.org/officeDocument/2006/relationships/image" Target="../media/image23.svg"/><Relationship Id="rId4" Type="http://schemas.openxmlformats.org/officeDocument/2006/relationships/image" Target="../media/image17.svg"/><Relationship Id="rId9" Type="http://schemas.openxmlformats.org/officeDocument/2006/relationships/image" Target="../media/image22.png"/><Relationship Id="rId14" Type="http://schemas.openxmlformats.org/officeDocument/2006/relationships/image" Target="../media/image27.sv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hyperlink" Target="https://fr.wikipedia.org/wiki/Infrastructure_as_code" TargetMode="Externa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31.svg"/><Relationship Id="rId4" Type="http://schemas.openxmlformats.org/officeDocument/2006/relationships/image" Target="../media/image30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7.svg"/><Relationship Id="rId13" Type="http://schemas.openxmlformats.org/officeDocument/2006/relationships/image" Target="../media/image42.png"/><Relationship Id="rId3" Type="http://schemas.openxmlformats.org/officeDocument/2006/relationships/image" Target="../media/image32.png"/><Relationship Id="rId7" Type="http://schemas.openxmlformats.org/officeDocument/2006/relationships/image" Target="../media/image36.png"/><Relationship Id="rId12" Type="http://schemas.openxmlformats.org/officeDocument/2006/relationships/image" Target="../media/image41.svg"/><Relationship Id="rId2" Type="http://schemas.openxmlformats.org/officeDocument/2006/relationships/notesSlide" Target="../notesSlides/notesSlide7.xml"/><Relationship Id="rId16" Type="http://schemas.openxmlformats.org/officeDocument/2006/relationships/image" Target="../media/image45.svg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35.svg"/><Relationship Id="rId11" Type="http://schemas.openxmlformats.org/officeDocument/2006/relationships/image" Target="../media/image40.png"/><Relationship Id="rId5" Type="http://schemas.openxmlformats.org/officeDocument/2006/relationships/image" Target="../media/image34.png"/><Relationship Id="rId15" Type="http://schemas.openxmlformats.org/officeDocument/2006/relationships/image" Target="../media/image44.png"/><Relationship Id="rId10" Type="http://schemas.openxmlformats.org/officeDocument/2006/relationships/image" Target="../media/image39.svg"/><Relationship Id="rId4" Type="http://schemas.openxmlformats.org/officeDocument/2006/relationships/image" Target="../media/image33.svg"/><Relationship Id="rId9" Type="http://schemas.openxmlformats.org/officeDocument/2006/relationships/image" Target="../media/image38.png"/><Relationship Id="rId14" Type="http://schemas.openxmlformats.org/officeDocument/2006/relationships/image" Target="../media/image43.sv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7" name="Photo_Maison_nuit.jpg" descr="Photo_Maison_nuit.jpg"/>
          <p:cNvPicPr>
            <a:picLocks noChangeAspect="1"/>
          </p:cNvPicPr>
          <p:nvPr/>
        </p:nvPicPr>
        <p:blipFill>
          <a:blip r:embed="rId3"/>
          <a:srcRect t="14747" b="721"/>
          <a:stretch>
            <a:fillRect/>
          </a:stretch>
        </p:blipFill>
        <p:spPr>
          <a:xfrm>
            <a:off x="175" y="-1"/>
            <a:ext cx="12194828" cy="6859392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9941174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ce réservé du contenu 5">
            <a:extLst>
              <a:ext uri="{FF2B5EF4-FFF2-40B4-BE49-F238E27FC236}">
                <a16:creationId xmlns:a16="http://schemas.microsoft.com/office/drawing/2014/main" id="{D037EEB5-6036-41AA-855E-326A8E292CAE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4711339" y="2853730"/>
            <a:ext cx="2772495" cy="719485"/>
          </a:xfrm>
        </p:spPr>
        <p:txBody>
          <a:bodyPr/>
          <a:lstStyle/>
          <a:p>
            <a:r>
              <a:rPr lang="fr-CA" dirty="0"/>
              <a:t>Terraform</a:t>
            </a:r>
          </a:p>
        </p:txBody>
      </p:sp>
    </p:spTree>
    <p:extLst>
      <p:ext uri="{BB962C8B-B14F-4D97-AF65-F5344CB8AC3E}">
        <p14:creationId xmlns:p14="http://schemas.microsoft.com/office/powerpoint/2010/main" val="34116234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Click="0" advTm="3000">
        <p:fade/>
      </p:transition>
    </mc:Choice>
    <mc:Fallback xmlns="">
      <p:transition spd="med" advClick="0" advTm="3000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39446CF1-95F1-4AEB-8FE0-9AEC104A241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algn="r">
              <a:defRPr/>
            </a:pPr>
            <a:fld id="{BC240EC6-B97B-449A-9055-D713C252FD31}" type="slidenum">
              <a:rPr lang="fr-CA" altLang="fr-FR" smtClean="0"/>
              <a:pPr algn="r">
                <a:defRPr/>
              </a:pPr>
              <a:t>11</a:t>
            </a:fld>
            <a:endParaRPr lang="fr-CA" altLang="fr-FR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380DB37-DE6C-4993-A257-4C5C00E36E7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CA" sz="2800" dirty="0" err="1"/>
              <a:t>Présentation</a:t>
            </a:r>
            <a:r>
              <a:rPr lang="en-CA" sz="2800" dirty="0"/>
              <a:t> </a:t>
            </a:r>
            <a:r>
              <a:rPr lang="en-CA" sz="2800" dirty="0" err="1"/>
              <a:t>générale</a:t>
            </a:r>
            <a:endParaRPr lang="en-CA" sz="2800" dirty="0"/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CC90CD06-B4F2-42AF-BC77-8739564A1E7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217267" y="1379117"/>
            <a:ext cx="1618083" cy="1618083"/>
          </a:xfrm>
          <a:prstGeom prst="rect">
            <a:avLst/>
          </a:prstGeom>
        </p:spPr>
      </p:pic>
      <p:grpSp>
        <p:nvGrpSpPr>
          <p:cNvPr id="17" name="Group 16">
            <a:extLst>
              <a:ext uri="{FF2B5EF4-FFF2-40B4-BE49-F238E27FC236}">
                <a16:creationId xmlns:a16="http://schemas.microsoft.com/office/drawing/2014/main" id="{16FCF611-66FB-4557-BAB9-06CEF981FF78}"/>
              </a:ext>
            </a:extLst>
          </p:cNvPr>
          <p:cNvGrpSpPr/>
          <p:nvPr/>
        </p:nvGrpSpPr>
        <p:grpSpPr>
          <a:xfrm>
            <a:off x="1732262" y="3736381"/>
            <a:ext cx="1800000" cy="2016224"/>
            <a:chOff x="3488545" y="3213770"/>
            <a:chExt cx="1800000" cy="2016224"/>
          </a:xfrm>
        </p:grpSpPr>
        <p:pic>
          <p:nvPicPr>
            <p:cNvPr id="10" name="Picture 9" descr="Mitchell Hashimoto&#10;">
              <a:extLst>
                <a:ext uri="{FF2B5EF4-FFF2-40B4-BE49-F238E27FC236}">
                  <a16:creationId xmlns:a16="http://schemas.microsoft.com/office/drawing/2014/main" id="{ED57B3A7-FE89-4911-BA0A-231ED90E8C0D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488545" y="3213770"/>
              <a:ext cx="1800000" cy="1800000"/>
            </a:xfrm>
            <a:prstGeom prst="rect">
              <a:avLst/>
            </a:prstGeom>
          </p:spPr>
        </p:pic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5190BD70-C031-474E-B19C-BDB0414BB116}"/>
                </a:ext>
              </a:extLst>
            </p:cNvPr>
            <p:cNvSpPr txBox="1"/>
            <p:nvPr/>
          </p:nvSpPr>
          <p:spPr>
            <a:xfrm>
              <a:off x="3488545" y="5013770"/>
              <a:ext cx="1800000" cy="216224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400"/>
                </a:spcBef>
              </a:pPr>
              <a:r>
                <a:rPr lang="fr-CA" sz="1400" dirty="0">
                  <a:solidFill>
                    <a:srgbClr val="07072B"/>
                  </a:solidFill>
                  <a:latin typeface="Century Gothic" panose="020B0502020202020204" pitchFamily="34" charset="0"/>
                </a:rPr>
                <a:t>Mitchell Hashimoto</a:t>
              </a:r>
            </a:p>
          </p:txBody>
        </p:sp>
      </p:grpSp>
      <p:grpSp>
        <p:nvGrpSpPr>
          <p:cNvPr id="18" name="Group 17">
            <a:extLst>
              <a:ext uri="{FF2B5EF4-FFF2-40B4-BE49-F238E27FC236}">
                <a16:creationId xmlns:a16="http://schemas.microsoft.com/office/drawing/2014/main" id="{786B3847-9C11-4269-82DE-25C69D020ABD}"/>
              </a:ext>
            </a:extLst>
          </p:cNvPr>
          <p:cNvGrpSpPr/>
          <p:nvPr/>
        </p:nvGrpSpPr>
        <p:grpSpPr>
          <a:xfrm>
            <a:off x="4513411" y="3736381"/>
            <a:ext cx="1800147" cy="2025508"/>
            <a:chOff x="6906481" y="3213770"/>
            <a:chExt cx="1800147" cy="2025508"/>
          </a:xfrm>
        </p:grpSpPr>
        <p:pic>
          <p:nvPicPr>
            <p:cNvPr id="12" name="Picture 11" descr="A person wearing glasses&#10;&#10;Description automatically generated with medium confidence">
              <a:extLst>
                <a:ext uri="{FF2B5EF4-FFF2-40B4-BE49-F238E27FC236}">
                  <a16:creationId xmlns:a16="http://schemas.microsoft.com/office/drawing/2014/main" id="{BA880ED7-9C7A-40FE-9017-A8862A6F2DAA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906628" y="3213770"/>
              <a:ext cx="1800000" cy="1800000"/>
            </a:xfrm>
            <a:prstGeom prst="rect">
              <a:avLst/>
            </a:prstGeom>
          </p:spPr>
        </p:pic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AEA771B3-58FF-48B2-9617-3398C6AB471B}"/>
                </a:ext>
              </a:extLst>
            </p:cNvPr>
            <p:cNvSpPr txBox="1"/>
            <p:nvPr/>
          </p:nvSpPr>
          <p:spPr>
            <a:xfrm>
              <a:off x="6906481" y="5023054"/>
              <a:ext cx="1800000" cy="216224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400"/>
                </a:spcBef>
              </a:pPr>
              <a:r>
                <a:rPr lang="fr-CA" sz="1400" dirty="0">
                  <a:solidFill>
                    <a:srgbClr val="07072B"/>
                  </a:solidFill>
                  <a:latin typeface="Century Gothic" panose="020B0502020202020204" pitchFamily="34" charset="0"/>
                </a:rPr>
                <a:t>Armon </a:t>
              </a:r>
              <a:r>
                <a:rPr lang="fr-CA" sz="1400" dirty="0" err="1">
                  <a:solidFill>
                    <a:srgbClr val="07072B"/>
                  </a:solidFill>
                  <a:latin typeface="Century Gothic" panose="020B0502020202020204" pitchFamily="34" charset="0"/>
                </a:rPr>
                <a:t>Dadgar</a:t>
              </a:r>
              <a:endParaRPr lang="fr-CA" sz="1400" dirty="0">
                <a:solidFill>
                  <a:srgbClr val="07072B"/>
                </a:solidFill>
                <a:latin typeface="Century Gothic" panose="020B0502020202020204" pitchFamily="34" charset="0"/>
              </a:endParaRPr>
            </a:p>
          </p:txBody>
        </p:sp>
      </p:grpSp>
      <p:grpSp>
        <p:nvGrpSpPr>
          <p:cNvPr id="23" name="Group 22">
            <a:extLst>
              <a:ext uri="{FF2B5EF4-FFF2-40B4-BE49-F238E27FC236}">
                <a16:creationId xmlns:a16="http://schemas.microsoft.com/office/drawing/2014/main" id="{8A468C18-5126-4705-8700-637A1A8EFE50}"/>
              </a:ext>
            </a:extLst>
          </p:cNvPr>
          <p:cNvGrpSpPr/>
          <p:nvPr/>
        </p:nvGrpSpPr>
        <p:grpSpPr>
          <a:xfrm>
            <a:off x="7033691" y="5013770"/>
            <a:ext cx="3442208" cy="1570378"/>
            <a:chOff x="7551923" y="5013770"/>
            <a:chExt cx="3442208" cy="1570378"/>
          </a:xfrm>
        </p:grpSpPr>
        <p:pic>
          <p:nvPicPr>
            <p:cNvPr id="14" name="Graphic 13">
              <a:extLst>
                <a:ext uri="{FF2B5EF4-FFF2-40B4-BE49-F238E27FC236}">
                  <a16:creationId xmlns:a16="http://schemas.microsoft.com/office/drawing/2014/main" id="{0BA1815A-3578-457A-8612-E2F03CF66132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9697787" y="5013770"/>
              <a:ext cx="1260000" cy="1260000"/>
            </a:xfrm>
            <a:prstGeom prst="rect">
              <a:avLst/>
            </a:prstGeom>
          </p:spPr>
        </p:pic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BFA508B0-82C3-4C76-A582-E73E60825A9F}"/>
                </a:ext>
              </a:extLst>
            </p:cNvPr>
            <p:cNvSpPr txBox="1"/>
            <p:nvPr/>
          </p:nvSpPr>
          <p:spPr>
            <a:xfrm>
              <a:off x="7551923" y="6245594"/>
              <a:ext cx="3442208" cy="33855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r"/>
              <a:r>
                <a:rPr lang="fr-CA" sz="1600" dirty="0">
                  <a:solidFill>
                    <a:srgbClr val="9B9B9B"/>
                  </a:solidFill>
                  <a:effectLst/>
                  <a:latin typeface="Century Gothic" panose="020B0502020202020204" pitchFamily="34" charset="0"/>
                  <a:ea typeface="Times New Roman" panose="02020603050405020304" pitchFamily="18" charset="0"/>
                  <a:cs typeface="Times New Roman" panose="02020603050405020304" pitchFamily="18" charset="0"/>
                  <a:hlinkClick r:id="rId9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github.com/</a:t>
              </a:r>
              <a:r>
                <a:rPr lang="fr-CA" sz="1600" dirty="0" err="1">
                  <a:solidFill>
                    <a:srgbClr val="9B9B9B"/>
                  </a:solidFill>
                  <a:effectLst/>
                  <a:latin typeface="Century Gothic" panose="020B0502020202020204" pitchFamily="34" charset="0"/>
                  <a:ea typeface="Times New Roman" panose="02020603050405020304" pitchFamily="18" charset="0"/>
                  <a:cs typeface="Times New Roman" panose="02020603050405020304" pitchFamily="18" charset="0"/>
                  <a:hlinkClick r:id="rId9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hashicorp</a:t>
              </a:r>
              <a:r>
                <a:rPr lang="fr-CA" sz="1600" dirty="0">
                  <a:solidFill>
                    <a:srgbClr val="9B9B9B"/>
                  </a:solidFill>
                  <a:effectLst/>
                  <a:latin typeface="Century Gothic" panose="020B0502020202020204" pitchFamily="34" charset="0"/>
                  <a:ea typeface="Times New Roman" panose="02020603050405020304" pitchFamily="18" charset="0"/>
                  <a:cs typeface="Times New Roman" panose="02020603050405020304" pitchFamily="18" charset="0"/>
                  <a:hlinkClick r:id="rId9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/</a:t>
              </a:r>
              <a:r>
                <a:rPr lang="fr-CA" sz="1600" dirty="0" err="1">
                  <a:solidFill>
                    <a:srgbClr val="9B9B9B"/>
                  </a:solidFill>
                  <a:effectLst/>
                  <a:latin typeface="Century Gothic" panose="020B0502020202020204" pitchFamily="34" charset="0"/>
                  <a:ea typeface="Times New Roman" panose="02020603050405020304" pitchFamily="18" charset="0"/>
                  <a:cs typeface="Times New Roman" panose="02020603050405020304" pitchFamily="18" charset="0"/>
                  <a:hlinkClick r:id="rId9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terraform</a:t>
              </a:r>
              <a:endParaRPr lang="fr-CA" sz="1600" dirty="0">
                <a:solidFill>
                  <a:srgbClr val="9B9B9B"/>
                </a:solidFill>
                <a:latin typeface="Century Gothic" panose="020B0502020202020204" pitchFamily="34" charset="0"/>
              </a:endParaRPr>
            </a:p>
          </p:txBody>
        </p:sp>
      </p:grpSp>
      <p:sp>
        <p:nvSpPr>
          <p:cNvPr id="21" name="TextBox 20">
            <a:extLst>
              <a:ext uri="{FF2B5EF4-FFF2-40B4-BE49-F238E27FC236}">
                <a16:creationId xmlns:a16="http://schemas.microsoft.com/office/drawing/2014/main" id="{CF5E9EB1-DC68-4D13-967D-DFBAF5F7C3E9}"/>
              </a:ext>
            </a:extLst>
          </p:cNvPr>
          <p:cNvSpPr txBox="1"/>
          <p:nvPr/>
        </p:nvSpPr>
        <p:spPr>
          <a:xfrm>
            <a:off x="3217267" y="3258678"/>
            <a:ext cx="1618083" cy="216225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>
              <a:lnSpc>
                <a:spcPct val="90000"/>
              </a:lnSpc>
              <a:spcBef>
                <a:spcPts val="400"/>
              </a:spcBef>
            </a:pPr>
            <a:r>
              <a:rPr lang="fr-CA" sz="1600" dirty="0">
                <a:solidFill>
                  <a:srgbClr val="07072B"/>
                </a:solidFill>
                <a:latin typeface="Century Gothic" panose="020B0502020202020204" pitchFamily="34" charset="0"/>
              </a:rPr>
              <a:t>Fondée en 2012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80DBDD39-266B-40EC-8ED9-8F7462E6CE3D}"/>
              </a:ext>
            </a:extLst>
          </p:cNvPr>
          <p:cNvSpPr txBox="1"/>
          <p:nvPr/>
        </p:nvSpPr>
        <p:spPr>
          <a:xfrm>
            <a:off x="9160574" y="2997200"/>
            <a:ext cx="1178996" cy="1934818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algn="r">
              <a:lnSpc>
                <a:spcPct val="90000"/>
              </a:lnSpc>
              <a:spcBef>
                <a:spcPts val="400"/>
              </a:spcBef>
            </a:pPr>
            <a:r>
              <a:rPr lang="fr-CA" sz="1800" dirty="0" err="1">
                <a:solidFill>
                  <a:srgbClr val="07072B"/>
                </a:solidFill>
                <a:latin typeface="Century Gothic" panose="020B0502020202020204" pitchFamily="34" charset="0"/>
              </a:rPr>
              <a:t>Vagrant</a:t>
            </a:r>
            <a:endParaRPr lang="fr-CA" sz="1800" dirty="0">
              <a:solidFill>
                <a:srgbClr val="07072B"/>
              </a:solidFill>
              <a:latin typeface="Century Gothic" panose="020B0502020202020204" pitchFamily="34" charset="0"/>
            </a:endParaRPr>
          </a:p>
          <a:p>
            <a:pPr algn="r">
              <a:lnSpc>
                <a:spcPct val="90000"/>
              </a:lnSpc>
              <a:spcBef>
                <a:spcPts val="400"/>
              </a:spcBef>
            </a:pPr>
            <a:r>
              <a:rPr lang="fr-CA" sz="1800" dirty="0">
                <a:solidFill>
                  <a:srgbClr val="07072B"/>
                </a:solidFill>
                <a:latin typeface="Century Gothic" panose="020B0502020202020204" pitchFamily="34" charset="0"/>
              </a:rPr>
              <a:t>Packer</a:t>
            </a:r>
          </a:p>
          <a:p>
            <a:pPr algn="r">
              <a:lnSpc>
                <a:spcPct val="90000"/>
              </a:lnSpc>
              <a:spcBef>
                <a:spcPts val="400"/>
              </a:spcBef>
            </a:pPr>
            <a:r>
              <a:rPr lang="fr-CA" sz="1800" dirty="0">
                <a:solidFill>
                  <a:srgbClr val="07072B"/>
                </a:solidFill>
                <a:latin typeface="Century Gothic" panose="020B0502020202020204" pitchFamily="34" charset="0"/>
              </a:rPr>
              <a:t>Vault</a:t>
            </a:r>
          </a:p>
          <a:p>
            <a:pPr algn="r">
              <a:lnSpc>
                <a:spcPct val="90000"/>
              </a:lnSpc>
              <a:spcBef>
                <a:spcPts val="400"/>
              </a:spcBef>
            </a:pPr>
            <a:r>
              <a:rPr lang="fr-CA" sz="1800" dirty="0">
                <a:solidFill>
                  <a:srgbClr val="07072B"/>
                </a:solidFill>
                <a:latin typeface="Century Gothic" panose="020B0502020202020204" pitchFamily="34" charset="0"/>
              </a:rPr>
              <a:t>Nomad</a:t>
            </a:r>
          </a:p>
          <a:p>
            <a:pPr algn="r">
              <a:lnSpc>
                <a:spcPct val="90000"/>
              </a:lnSpc>
              <a:spcBef>
                <a:spcPts val="400"/>
              </a:spcBef>
            </a:pPr>
            <a:r>
              <a:rPr lang="fr-CA" sz="1800" dirty="0">
                <a:solidFill>
                  <a:srgbClr val="07072B"/>
                </a:solidFill>
                <a:latin typeface="Century Gothic" panose="020B0502020202020204" pitchFamily="34" charset="0"/>
              </a:rPr>
              <a:t>Consul</a:t>
            </a:r>
          </a:p>
          <a:p>
            <a:pPr algn="r">
              <a:lnSpc>
                <a:spcPct val="90000"/>
              </a:lnSpc>
              <a:spcBef>
                <a:spcPts val="400"/>
              </a:spcBef>
            </a:pPr>
            <a:r>
              <a:rPr lang="fr-CA" sz="1800" dirty="0" err="1">
                <a:solidFill>
                  <a:srgbClr val="07072B"/>
                </a:solidFill>
                <a:latin typeface="Century Gothic" panose="020B0502020202020204" pitchFamily="34" charset="0"/>
              </a:rPr>
              <a:t>Waypoint</a:t>
            </a:r>
            <a:endParaRPr lang="fr-CA" sz="1800" dirty="0">
              <a:solidFill>
                <a:srgbClr val="07072B"/>
              </a:solidFill>
              <a:latin typeface="Century Gothic" panose="020B0502020202020204" pitchFamily="34" charset="0"/>
            </a:endParaRPr>
          </a:p>
          <a:p>
            <a:pPr algn="r">
              <a:lnSpc>
                <a:spcPct val="90000"/>
              </a:lnSpc>
              <a:spcBef>
                <a:spcPts val="400"/>
              </a:spcBef>
            </a:pPr>
            <a:r>
              <a:rPr lang="fr-CA" sz="1800" dirty="0" err="1">
                <a:solidFill>
                  <a:srgbClr val="07072B"/>
                </a:solidFill>
                <a:latin typeface="Century Gothic" panose="020B0502020202020204" pitchFamily="34" charset="0"/>
              </a:rPr>
              <a:t>Boundary</a:t>
            </a:r>
            <a:endParaRPr lang="fr-CA" sz="1800" dirty="0">
              <a:solidFill>
                <a:srgbClr val="07072B"/>
              </a:solidFill>
              <a:latin typeface="Century Gothic" panose="020B0502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512443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3B40E277-A7B7-4FCF-A97E-C2248B79381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algn="r">
              <a:defRPr/>
            </a:pPr>
            <a:fld id="{BC240EC6-B97B-449A-9055-D713C252FD31}" type="slidenum">
              <a:rPr lang="fr-CA" altLang="fr-FR" smtClean="0"/>
              <a:pPr algn="r">
                <a:defRPr/>
              </a:pPr>
              <a:t>12</a:t>
            </a:fld>
            <a:endParaRPr lang="fr-CA" altLang="fr-FR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6F1F710-EEEE-498E-A529-999D25718BD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fr-CA" sz="2800" dirty="0"/>
              <a:t>Terraform or not Terraform ?</a:t>
            </a:r>
          </a:p>
        </p:txBody>
      </p:sp>
      <p:pic>
        <p:nvPicPr>
          <p:cNvPr id="6" name="Content Placeholder 5" descr="Engineering drawing&#10;&#10;Description automatically generated">
            <a:extLst>
              <a:ext uri="{FF2B5EF4-FFF2-40B4-BE49-F238E27FC236}">
                <a16:creationId xmlns:a16="http://schemas.microsoft.com/office/drawing/2014/main" id="{958E4587-73BC-486E-A688-210F2FF1C2AB}"/>
              </a:ext>
            </a:extLst>
          </p:cNvPr>
          <p:cNvPicPr>
            <a:picLocks noGrp="1" noChangeAspect="1"/>
          </p:cNvPicPr>
          <p:nvPr>
            <p:ph sz="quarter" idx="18"/>
          </p:nvPr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23112" y="1919245"/>
            <a:ext cx="3514822" cy="2098201"/>
          </a:xfrm>
        </p:spPr>
      </p:pic>
      <p:pic>
        <p:nvPicPr>
          <p:cNvPr id="8" name="Graphic 7">
            <a:extLst>
              <a:ext uri="{FF2B5EF4-FFF2-40B4-BE49-F238E27FC236}">
                <a16:creationId xmlns:a16="http://schemas.microsoft.com/office/drawing/2014/main" id="{F91B122A-E737-43ED-B3C7-C38879F7E2C8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 r="80543"/>
          <a:stretch/>
        </p:blipFill>
        <p:spPr>
          <a:xfrm>
            <a:off x="1849115" y="2817688"/>
            <a:ext cx="1044202" cy="830206"/>
          </a:xfrm>
          <a:prstGeom prst="rect">
            <a:avLst/>
          </a:prstGeom>
        </p:spPr>
      </p:pic>
      <p:pic>
        <p:nvPicPr>
          <p:cNvPr id="10" name="Graphic 9">
            <a:extLst>
              <a:ext uri="{FF2B5EF4-FFF2-40B4-BE49-F238E27FC236}">
                <a16:creationId xmlns:a16="http://schemas.microsoft.com/office/drawing/2014/main" id="{6967995B-ECD2-49C5-A001-CA2189718A3D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394569" y="2937786"/>
            <a:ext cx="989635" cy="592479"/>
          </a:xfrm>
          <a:prstGeom prst="rect">
            <a:avLst/>
          </a:prstGeom>
        </p:spPr>
      </p:pic>
      <p:grpSp>
        <p:nvGrpSpPr>
          <p:cNvPr id="15" name="Group 14">
            <a:extLst>
              <a:ext uri="{FF2B5EF4-FFF2-40B4-BE49-F238E27FC236}">
                <a16:creationId xmlns:a16="http://schemas.microsoft.com/office/drawing/2014/main" id="{45E4296E-45C6-4A57-88E7-27261DB24997}"/>
              </a:ext>
            </a:extLst>
          </p:cNvPr>
          <p:cNvGrpSpPr/>
          <p:nvPr/>
        </p:nvGrpSpPr>
        <p:grpSpPr>
          <a:xfrm>
            <a:off x="1020612" y="1771040"/>
            <a:ext cx="1165463" cy="1005676"/>
            <a:chOff x="8029268" y="3640461"/>
            <a:chExt cx="2137168" cy="1798372"/>
          </a:xfrm>
        </p:grpSpPr>
        <p:pic>
          <p:nvPicPr>
            <p:cNvPr id="12" name="Graphic 11">
              <a:extLst>
                <a:ext uri="{FF2B5EF4-FFF2-40B4-BE49-F238E27FC236}">
                  <a16:creationId xmlns:a16="http://schemas.microsoft.com/office/drawing/2014/main" id="{674D0CF5-2186-4662-B962-BFF008BFCB0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rcRect r="61226"/>
            <a:stretch/>
          </p:blipFill>
          <p:spPr>
            <a:xfrm>
              <a:off x="8508441" y="3640461"/>
              <a:ext cx="1545555" cy="1155953"/>
            </a:xfrm>
            <a:prstGeom prst="rect">
              <a:avLst/>
            </a:prstGeom>
          </p:spPr>
        </p:pic>
        <p:pic>
          <p:nvPicPr>
            <p:cNvPr id="14" name="Graphic 13">
              <a:extLst>
                <a:ext uri="{FF2B5EF4-FFF2-40B4-BE49-F238E27FC236}">
                  <a16:creationId xmlns:a16="http://schemas.microsoft.com/office/drawing/2014/main" id="{85B691D7-5C63-4FBC-8EDA-176BA9504CF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rcRect l="38764"/>
            <a:stretch/>
          </p:blipFill>
          <p:spPr>
            <a:xfrm>
              <a:off x="8029268" y="4426721"/>
              <a:ext cx="2137168" cy="1012112"/>
            </a:xfrm>
            <a:prstGeom prst="rect">
              <a:avLst/>
            </a:prstGeom>
          </p:spPr>
        </p:pic>
      </p:grpSp>
      <p:sp>
        <p:nvSpPr>
          <p:cNvPr id="16" name="TextBox 15">
            <a:extLst>
              <a:ext uri="{FF2B5EF4-FFF2-40B4-BE49-F238E27FC236}">
                <a16:creationId xmlns:a16="http://schemas.microsoft.com/office/drawing/2014/main" id="{A64B375B-E51D-4353-B5BF-D145393F09DE}"/>
              </a:ext>
            </a:extLst>
          </p:cNvPr>
          <p:cNvSpPr txBox="1"/>
          <p:nvPr/>
        </p:nvSpPr>
        <p:spPr>
          <a:xfrm>
            <a:off x="334917" y="3688866"/>
            <a:ext cx="2664296" cy="328580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>
              <a:lnSpc>
                <a:spcPct val="90000"/>
              </a:lnSpc>
              <a:spcBef>
                <a:spcPts val="400"/>
              </a:spcBef>
            </a:pPr>
            <a:r>
              <a:rPr lang="en-CA" dirty="0">
                <a:solidFill>
                  <a:srgbClr val="07072B"/>
                </a:solidFill>
                <a:latin typeface="Century Gothic" panose="020B0502020202020204" pitchFamily="34" charset="0"/>
              </a:rPr>
              <a:t>500+ </a:t>
            </a:r>
            <a:r>
              <a:rPr lang="en-CA" dirty="0" err="1">
                <a:solidFill>
                  <a:srgbClr val="07072B"/>
                </a:solidFill>
                <a:latin typeface="Century Gothic" panose="020B0502020202020204" pitchFamily="34" charset="0"/>
              </a:rPr>
              <a:t>connecteurs</a:t>
            </a:r>
            <a:endParaRPr lang="fr-CA" dirty="0" err="1">
              <a:solidFill>
                <a:srgbClr val="07072B"/>
              </a:solidFill>
              <a:latin typeface="Century Gothic" panose="020B0502020202020204" pitchFamily="34" charset="0"/>
            </a:endParaRPr>
          </a:p>
        </p:txBody>
      </p:sp>
      <p:pic>
        <p:nvPicPr>
          <p:cNvPr id="18" name="Picture 17" descr="A picture containing text, device, gauge&#10;&#10;Description automatically generated">
            <a:extLst>
              <a:ext uri="{FF2B5EF4-FFF2-40B4-BE49-F238E27FC236}">
                <a16:creationId xmlns:a16="http://schemas.microsoft.com/office/drawing/2014/main" id="{6BEFB301-5AB2-41B3-AD72-1DC0196FCC30}"/>
              </a:ext>
            </a:extLst>
          </p:cNvPr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74972" y="1609397"/>
            <a:ext cx="1260255" cy="1440000"/>
          </a:xfrm>
          <a:prstGeom prst="rect">
            <a:avLst/>
          </a:prstGeom>
        </p:spPr>
      </p:pic>
      <p:pic>
        <p:nvPicPr>
          <p:cNvPr id="20" name="Graphic 19">
            <a:extLst>
              <a:ext uri="{FF2B5EF4-FFF2-40B4-BE49-F238E27FC236}">
                <a16:creationId xmlns:a16="http://schemas.microsoft.com/office/drawing/2014/main" id="{50780087-9EB7-4502-873D-02A71D7C7A96}"/>
              </a:ext>
            </a:extLst>
          </p:cNvPr>
          <p:cNvPicPr>
            <a:picLocks noChangeAspect="1"/>
          </p:cNvPicPr>
          <p:nvPr/>
        </p:nvPicPr>
        <p:blipFill rotWithShape="1">
          <a:blip r:embed="rId1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rcRect l="16545" t="16967" r="14482" b="13138"/>
          <a:stretch/>
        </p:blipFill>
        <p:spPr>
          <a:xfrm>
            <a:off x="9409955" y="1609397"/>
            <a:ext cx="1421013" cy="1440000"/>
          </a:xfrm>
          <a:prstGeom prst="rect">
            <a:avLst/>
          </a:prstGeom>
        </p:spPr>
      </p:pic>
      <p:grpSp>
        <p:nvGrpSpPr>
          <p:cNvPr id="26" name="Group 25">
            <a:extLst>
              <a:ext uri="{FF2B5EF4-FFF2-40B4-BE49-F238E27FC236}">
                <a16:creationId xmlns:a16="http://schemas.microsoft.com/office/drawing/2014/main" id="{C66C02D0-D0C0-40E3-B316-B89002D9EEF9}"/>
              </a:ext>
            </a:extLst>
          </p:cNvPr>
          <p:cNvGrpSpPr/>
          <p:nvPr/>
        </p:nvGrpSpPr>
        <p:grpSpPr>
          <a:xfrm>
            <a:off x="8585986" y="3861842"/>
            <a:ext cx="1647938" cy="1587473"/>
            <a:chOff x="8227635" y="4538563"/>
            <a:chExt cx="1744107" cy="1680114"/>
          </a:xfrm>
        </p:grpSpPr>
        <p:pic>
          <p:nvPicPr>
            <p:cNvPr id="22" name="Graphic 21">
              <a:extLst>
                <a:ext uri="{FF2B5EF4-FFF2-40B4-BE49-F238E27FC236}">
                  <a16:creationId xmlns:a16="http://schemas.microsoft.com/office/drawing/2014/main" id="{AE9BB554-EB87-4A7C-B7EC-5402EFF610BE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6"/>
                </a:ext>
              </a:extLst>
            </a:blip>
            <a:stretch>
              <a:fillRect/>
            </a:stretch>
          </p:blipFill>
          <p:spPr>
            <a:xfrm>
              <a:off x="8227635" y="4538563"/>
              <a:ext cx="1680114" cy="1680114"/>
            </a:xfrm>
            <a:prstGeom prst="rect">
              <a:avLst/>
            </a:prstGeom>
          </p:spPr>
        </p:pic>
        <p:pic>
          <p:nvPicPr>
            <p:cNvPr id="24" name="Graphic 23">
              <a:extLst>
                <a:ext uri="{FF2B5EF4-FFF2-40B4-BE49-F238E27FC236}">
                  <a16:creationId xmlns:a16="http://schemas.microsoft.com/office/drawing/2014/main" id="{98B04A57-F089-4138-A284-AB8BBDEA4ADB}"/>
                </a:ext>
              </a:extLst>
            </p:cNvPr>
            <p:cNvPicPr>
              <a:picLocks noChangeAspect="1"/>
            </p:cNvPicPr>
            <p:nvPr/>
          </p:nvPicPr>
          <p:blipFill>
            <a:blip r:embed="rId17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8"/>
                </a:ext>
              </a:extLst>
            </a:blip>
            <a:stretch>
              <a:fillRect/>
            </a:stretch>
          </p:blipFill>
          <p:spPr>
            <a:xfrm>
              <a:off x="9500631" y="5197825"/>
              <a:ext cx="471111" cy="471111"/>
            </a:xfrm>
            <a:prstGeom prst="rect">
              <a:avLst/>
            </a:prstGeom>
          </p:spPr>
        </p:pic>
      </p:grpSp>
      <p:grpSp>
        <p:nvGrpSpPr>
          <p:cNvPr id="34" name="Group 33">
            <a:extLst>
              <a:ext uri="{FF2B5EF4-FFF2-40B4-BE49-F238E27FC236}">
                <a16:creationId xmlns:a16="http://schemas.microsoft.com/office/drawing/2014/main" id="{D2F2207E-4E38-4926-BBA5-D27CBDDF09AC}"/>
              </a:ext>
            </a:extLst>
          </p:cNvPr>
          <p:cNvGrpSpPr/>
          <p:nvPr/>
        </p:nvGrpSpPr>
        <p:grpSpPr>
          <a:xfrm>
            <a:off x="1286546" y="5095062"/>
            <a:ext cx="1565099" cy="1565099"/>
            <a:chOff x="4735444" y="3710767"/>
            <a:chExt cx="2724286" cy="2724286"/>
          </a:xfrm>
        </p:grpSpPr>
        <p:pic>
          <p:nvPicPr>
            <p:cNvPr id="31" name="Graphic 30">
              <a:extLst>
                <a:ext uri="{FF2B5EF4-FFF2-40B4-BE49-F238E27FC236}">
                  <a16:creationId xmlns:a16="http://schemas.microsoft.com/office/drawing/2014/main" id="{C5B4264A-3A3C-4818-8E3A-B75146E2A0CE}"/>
                </a:ext>
              </a:extLst>
            </p:cNvPr>
            <p:cNvPicPr>
              <a:picLocks noChangeAspect="1"/>
            </p:cNvPicPr>
            <p:nvPr/>
          </p:nvPicPr>
          <p:blipFill>
            <a:blip r:embed="rId19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20"/>
                </a:ext>
              </a:extLst>
            </a:blip>
            <a:stretch>
              <a:fillRect/>
            </a:stretch>
          </p:blipFill>
          <p:spPr>
            <a:xfrm>
              <a:off x="4735444" y="3710767"/>
              <a:ext cx="2724286" cy="2724286"/>
            </a:xfrm>
            <a:prstGeom prst="rect">
              <a:avLst/>
            </a:prstGeom>
          </p:spPr>
        </p:pic>
        <p:pic>
          <p:nvPicPr>
            <p:cNvPr id="33" name="Graphic 32">
              <a:extLst>
                <a:ext uri="{FF2B5EF4-FFF2-40B4-BE49-F238E27FC236}">
                  <a16:creationId xmlns:a16="http://schemas.microsoft.com/office/drawing/2014/main" id="{BA4327CD-8208-4855-882D-8832C8CEDCA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1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22"/>
                </a:ext>
              </a:extLst>
            </a:blip>
            <a:srcRect r="78975"/>
            <a:stretch/>
          </p:blipFill>
          <p:spPr>
            <a:xfrm>
              <a:off x="6506775" y="4942638"/>
              <a:ext cx="504056" cy="575388"/>
            </a:xfrm>
            <a:prstGeom prst="rect">
              <a:avLst/>
            </a:prstGeom>
          </p:spPr>
        </p:pic>
      </p:grpSp>
      <p:pic>
        <p:nvPicPr>
          <p:cNvPr id="36" name="Graphic 35">
            <a:extLst>
              <a:ext uri="{FF2B5EF4-FFF2-40B4-BE49-F238E27FC236}">
                <a16:creationId xmlns:a16="http://schemas.microsoft.com/office/drawing/2014/main" id="{1F6C95CB-E65D-4A8A-8168-9B8039BE3B19}"/>
              </a:ext>
            </a:extLst>
          </p:cNvPr>
          <p:cNvPicPr>
            <a:picLocks noChangeAspect="1"/>
          </p:cNvPicPr>
          <p:nvPr/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4"/>
              </a:ext>
            </a:extLst>
          </a:blip>
          <a:stretch>
            <a:fillRect/>
          </a:stretch>
        </p:blipFill>
        <p:spPr>
          <a:xfrm>
            <a:off x="3858463" y="4364917"/>
            <a:ext cx="1763516" cy="1763516"/>
          </a:xfrm>
          <a:prstGeom prst="rect">
            <a:avLst/>
          </a:prstGeom>
        </p:spPr>
      </p:pic>
      <p:pic>
        <p:nvPicPr>
          <p:cNvPr id="37" name="Graphic 36">
            <a:extLst>
              <a:ext uri="{FF2B5EF4-FFF2-40B4-BE49-F238E27FC236}">
                <a16:creationId xmlns:a16="http://schemas.microsoft.com/office/drawing/2014/main" id="{7B7A77C4-37A1-4701-9A81-F9645D272334}"/>
              </a:ext>
            </a:extLst>
          </p:cNvPr>
          <p:cNvPicPr>
            <a:picLocks noChangeAspect="1"/>
          </p:cNvPicPr>
          <p:nvPr/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6"/>
              </a:ext>
            </a:extLst>
          </a:blip>
          <a:srcRect/>
          <a:stretch/>
        </p:blipFill>
        <p:spPr>
          <a:xfrm>
            <a:off x="3852218" y="4364917"/>
            <a:ext cx="1763516" cy="1763516"/>
          </a:xfrm>
          <a:prstGeom prst="rect">
            <a:avLst/>
          </a:prstGeom>
        </p:spPr>
      </p:pic>
      <p:pic>
        <p:nvPicPr>
          <p:cNvPr id="38" name="Graphic 37">
            <a:extLst>
              <a:ext uri="{FF2B5EF4-FFF2-40B4-BE49-F238E27FC236}">
                <a16:creationId xmlns:a16="http://schemas.microsoft.com/office/drawing/2014/main" id="{C19D5D0C-280A-4975-92CF-EB22BDBE34D1}"/>
              </a:ext>
            </a:extLst>
          </p:cNvPr>
          <p:cNvPicPr>
            <a:picLocks noChangeAspect="1"/>
          </p:cNvPicPr>
          <p:nvPr/>
        </p:nvPicPr>
        <p:blipFill>
          <a:blip r:embed="rId2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8"/>
              </a:ext>
            </a:extLst>
          </a:blip>
          <a:srcRect/>
          <a:stretch/>
        </p:blipFill>
        <p:spPr>
          <a:xfrm>
            <a:off x="3845973" y="4364917"/>
            <a:ext cx="1763516" cy="1763516"/>
          </a:xfrm>
          <a:prstGeom prst="rect">
            <a:avLst/>
          </a:prstGeom>
        </p:spPr>
      </p:pic>
      <p:pic>
        <p:nvPicPr>
          <p:cNvPr id="42" name="Silent-10-seconds--MP3">
            <a:hlinkClick r:id="" action="ppaction://media"/>
            <a:extLst>
              <a:ext uri="{FF2B5EF4-FFF2-40B4-BE49-F238E27FC236}">
                <a16:creationId xmlns:a16="http://schemas.microsoft.com/office/drawing/2014/main" id="{E72671BC-D571-490E-BAEB-8CD03839B78D}"/>
              </a:ext>
            </a:extLst>
          </p:cNvPr>
          <p:cNvPicPr>
            <a:picLocks noChangeAspect="1"/>
          </p:cNvPicPr>
          <p:nvPr>
            <a:audioFile r:link="rId1"/>
            <p:extLst>
              <p:ext uri="{DAA4B4D4-6D71-4841-9C94-3DE7FCFB9230}">
                <p14:media xmlns:p14="http://schemas.microsoft.com/office/powerpoint/2010/main" r:embed="rId2">
                  <p14:trim end="4412"/>
                  <p14:bmkLst>
                    <p14:bmk name="Bookmark 1" time="0"/>
                    <p14:bmk name="Bookmark 4" time="7047.3333"/>
                    <p14:bmk name="Bookmark 6" time="8954.6666"/>
                  </p14:bmkLst>
                </p14:media>
              </p:ext>
            </p:extLst>
          </p:nvPr>
        </p:nvPicPr>
        <p:blipFill>
          <a:blip r:embed="rId29"/>
          <a:stretch>
            <a:fillRect/>
          </a:stretch>
        </p:blipFill>
        <p:spPr>
          <a:xfrm>
            <a:off x="51321" y="6272331"/>
            <a:ext cx="609600" cy="609600"/>
          </a:xfrm>
          <a:prstGeom prst="rect">
            <a:avLst/>
          </a:prstGeom>
        </p:spPr>
      </p:pic>
      <p:cxnSp>
        <p:nvCxnSpPr>
          <p:cNvPr id="44" name="Straight Connector 43">
            <a:extLst>
              <a:ext uri="{FF2B5EF4-FFF2-40B4-BE49-F238E27FC236}">
                <a16:creationId xmlns:a16="http://schemas.microsoft.com/office/drawing/2014/main" id="{38956A1D-843A-423E-913E-098F54886008}"/>
              </a:ext>
            </a:extLst>
          </p:cNvPr>
          <p:cNvCxnSpPr>
            <a:cxnSpLocks/>
          </p:cNvCxnSpPr>
          <p:nvPr/>
        </p:nvCxnSpPr>
        <p:spPr>
          <a:xfrm>
            <a:off x="6673651" y="1269554"/>
            <a:ext cx="0" cy="5184576"/>
          </a:xfrm>
          <a:prstGeom prst="line">
            <a:avLst/>
          </a:prstGeom>
          <a:ln w="38100">
            <a:solidFill>
              <a:srgbClr val="07072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613142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mc:AlternateContent xmlns:mc="http://schemas.openxmlformats.org/markup-compatibility/2006" xmlns:p14="http://schemas.microsoft.com/office/powerpoint/2010/main">
    <mc:Choice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1" presetClass="mediacall" presetSubtype="0" fill="hold" nodeType="clickEffect">
                                      <p:stCondLst>
                                        <p:cond delay="0"/>
                                      </p:stCondLst>
                                      <p:childTnLst>
                                        <p:cmd type="call" cmd="playFrom(0.0)">
                                          <p:cBhvr>
                                            <p:cTn id="6" dur="6100" fill="hold"/>
                                            <p:tgtEl>
                                              <p:spTgt spid="42"/>
                                            </p:tgtEl>
                                          </p:cBhvr>
                                        </p:cmd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  <p:par>
                        <p:cTn id="7" fill="hold">
                          <p:stCondLst>
                            <p:cond delay="indefinite"/>
                          </p:stCondLst>
                          <p:childTnLst>
                            <p:par>
                              <p:cTn id="8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9" presetID="10" presetClass="entr" presetSubtype="0" fill="hold" nodeType="click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11" dur="500"/>
                                            <p:tgtEl>
                                              <p:spTgt spid="44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12" presetID="10" presetClass="entr" presetSubtype="0" fill="hold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3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0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14" dur="500"/>
                                            <p:tgtEl>
                                              <p:spTgt spid="20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15" presetID="10" presetClass="entr" presetSubtype="0" fill="hold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17" dur="500"/>
                                            <p:tgtEl>
                                              <p:spTgt spid="18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18" presetID="10" presetClass="entr" presetSubtype="0" fill="hold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9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20" dur="500"/>
                                            <p:tgtEl>
                                              <p:spTgt spid="26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  <p:audio>
                  <p:cMediaNode vol="80000" mute="1" showWhenStopped="0">
                    <p:cTn id="21" repeatCount="indefinite" fill="hold" display="0">
                      <p:stCondLst>
                        <p:cond delay="indefinite"/>
                      </p:stCondLst>
                      <p:endCondLst>
                        <p:cond evt="onStopAudio" delay="0">
                          <p:tgtEl>
                            <p:sldTgt/>
                          </p:tgtEl>
                        </p:cond>
                      </p:endCondLst>
                    </p:cTn>
                    <p:tgtEl>
                      <p:spTgt spid="42"/>
                    </p:tgtEl>
                  </p:cMediaNode>
                </p:audio>
                <p:seq concurrent="1" nextAc="seek">
                  <p:cTn id="22" restart="whenNotActive" fill="hold" evtFilter="cancelBubble" nodeType="interactiveSeq">
                    <p:stCondLst>
                      <p:cond evt="onMediaBookmark" delay="0">
                        <p:tgtEl>
                          <p14:bmkTgt spid="42" bmkName="Bookmark 1"/>
                        </p:tgtEl>
                      </p:cond>
                    </p:stCondLst>
                    <p:endSync evt="end" delay="0">
                      <p:rtn val="all"/>
                    </p:endSync>
                    <p:childTnLst>
                      <p:par>
                        <p:cTn id="23" fill="hold">
                          <p:stCondLst>
                            <p:cond delay="0"/>
                          </p:stCondLst>
                          <p:childTnLst>
                            <p:par>
                              <p:cTn id="2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25" presetID="1" presetClass="entr" presetSubtype="0" fill="hold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2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</p:childTnLst>
                                    </p:cTn>
                                  </p:par>
                                  <p:par>
                                    <p:cTn id="27" presetID="1" presetClass="entr" presetSubtype="0" fill="hold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28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</p:childTnLst>
                                    </p:cTn>
                                  </p:par>
                                  <p:par>
                                    <p:cTn id="29" presetID="44" presetClass="path" presetSubtype="0" decel="50000" fill="hold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animMotion origin="layout" path="M -8.59151E-7 -0.00023 C -0.02005 -0.03425 -0.02291 -0.03425 -0.05155 -0.0766 C -0.06444 -0.09905 -0.088 -0.10623 -0.10713 -0.10507 C -0.1264 -0.10391 -0.15413 -0.09234 -0.16701 -0.06989 C -0.18628 -0.03587 -0.2045 0.00486 -0.21414 0.04466 " pathEditMode="relative" rAng="0" ptsTypes="AAAAA">
                                          <p:cBhvr>
                                            <p:cTn id="30" dur="2000" fill="hold"/>
                                            <p:tgtEl>
                                              <p:spTgt spid="36"/>
                                            </p:tgtEl>
                                            <p:attrNameLst>
                                              <p:attrName>ppt_x</p:attrName>
                                              <p:attrName>ppt_y</p:attrName>
                                            </p:attrNameLst>
                                          </p:cBhvr>
                                          <p:rCtr x="-10713" y="-3009"/>
                                        </p:animMotion>
                                      </p:childTnLst>
                                    </p:cTn>
                                  </p:par>
                                  <p:par>
                                    <p:cTn id="31" presetID="10" presetClass="exit" presetSubtype="0" fill="hold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animEffect transition="out" filter="fade">
                                          <p:cBhvr>
                                            <p:cTn id="32" dur="2000"/>
                                            <p:tgtEl>
                                              <p:spTgt spid="36"/>
                                            </p:tgtEl>
                                          </p:cBhvr>
                                        </p:animEffect>
                                        <p:set>
                                          <p:cBhvr>
                                            <p:cTn id="33" dur="1" fill="hold">
                                              <p:stCondLst>
                                                <p:cond delay="1999"/>
                                              </p:stCondLst>
                                            </p:cTn>
                                            <p:tgtEl>
                                              <p:spTgt spid="3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hidden"/>
                                          </p:to>
                                        </p:set>
                                      </p:childTnLst>
                                    </p:cTn>
                                  </p:par>
                                  <p:par>
                                    <p:cTn id="34" presetID="6" presetClass="emph" presetSubtype="0" fill="hold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animScale>
                                          <p:cBhvr>
                                            <p:cTn id="35" dur="2000" fill="hold"/>
                                            <p:tgtEl>
                                              <p:spTgt spid="36"/>
                                            </p:tgtEl>
                                          </p:cBhvr>
                                          <p:by x="25000" y="25000"/>
                                        </p:animScale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36" fill="hold">
                                <p:stCondLst>
                                  <p:cond delay="2000"/>
                                </p:stCondLst>
                                <p:childTnLst>
                                  <p:par>
                                    <p:cTn id="37" presetID="1" presetClass="entr" presetSubtype="0" fill="hold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38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</p:childTnLst>
                                    </p:cTn>
                                  </p:par>
                                  <p:par>
                                    <p:cTn id="39" presetID="44" presetClass="path" presetSubtype="0" decel="50000" fill="hold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animMotion origin="layout" path="M -1.61416E-7 -0.00023 C -0.02005 -0.03425 -0.02291 -0.03425 -0.05155 -0.0766 C -0.06444 -0.09905 -0.088 -0.10623 -0.10713 -0.10507 C -0.1264 -0.10391 -0.15413 -0.09234 -0.16701 -0.06989 C -0.18628 -0.03587 -0.2045 0.00486 -0.21414 0.04466 " pathEditMode="relative" rAng="0" ptsTypes="AAAAA">
                                          <p:cBhvr>
                                            <p:cTn id="40" dur="2000" fill="hold"/>
                                            <p:tgtEl>
                                              <p:spTgt spid="37"/>
                                            </p:tgtEl>
                                            <p:attrNameLst>
                                              <p:attrName>ppt_x</p:attrName>
                                              <p:attrName>ppt_y</p:attrName>
                                            </p:attrNameLst>
                                          </p:cBhvr>
                                          <p:rCtr x="-10713" y="-3009"/>
                                        </p:animMotion>
                                      </p:childTnLst>
                                    </p:cTn>
                                  </p:par>
                                  <p:par>
                                    <p:cTn id="41" presetID="10" presetClass="exit" presetSubtype="0" fill="hold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animEffect transition="out" filter="fade">
                                          <p:cBhvr>
                                            <p:cTn id="42" dur="2000"/>
                                            <p:tgtEl>
                                              <p:spTgt spid="37"/>
                                            </p:tgtEl>
                                          </p:cBhvr>
                                        </p:animEffect>
                                        <p:set>
                                          <p:cBhvr>
                                            <p:cTn id="43" dur="1" fill="hold">
                                              <p:stCondLst>
                                                <p:cond delay="1999"/>
                                              </p:stCondLst>
                                            </p:cTn>
                                            <p:tgtEl>
                                              <p:spTgt spid="3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hidden"/>
                                          </p:to>
                                        </p:set>
                                      </p:childTnLst>
                                    </p:cTn>
                                  </p:par>
                                  <p:par>
                                    <p:cTn id="44" presetID="6" presetClass="emph" presetSubtype="0" fill="hold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animScale>
                                          <p:cBhvr>
                                            <p:cTn id="45" dur="2000" fill="hold"/>
                                            <p:tgtEl>
                                              <p:spTgt spid="37"/>
                                            </p:tgtEl>
                                          </p:cBhvr>
                                          <p:by x="25000" y="25000"/>
                                        </p:animScale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46" fill="hold">
                                <p:stCondLst>
                                  <p:cond delay="4000"/>
                                </p:stCondLst>
                                <p:childTnLst>
                                  <p:par>
                                    <p:cTn id="47" presetID="1" presetClass="entr" presetSubtype="0" fill="hold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48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</p:childTnLst>
                                    </p:cTn>
                                  </p:par>
                                  <p:par>
                                    <p:cTn id="49" presetID="44" presetClass="path" presetSubtype="0" decel="50000" fill="hold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animMotion origin="layout" path="M 5.36319E-7 -0.00023 C -0.02005 -0.03425 -0.02291 -0.03425 -0.05155 -0.0766 C -0.06444 -0.09905 -0.088 -0.10623 -0.10713 -0.10507 C -0.1264 -0.10391 -0.15413 -0.09234 -0.16701 -0.06989 C -0.18628 -0.03587 -0.2045 0.00486 -0.21414 0.04466 " pathEditMode="relative" rAng="0" ptsTypes="AAAAA">
                                          <p:cBhvr>
                                            <p:cTn id="50" dur="2000" fill="hold"/>
                                            <p:tgtEl>
                                              <p:spTgt spid="38"/>
                                            </p:tgtEl>
                                            <p:attrNameLst>
                                              <p:attrName>ppt_x</p:attrName>
                                              <p:attrName>ppt_y</p:attrName>
                                            </p:attrNameLst>
                                          </p:cBhvr>
                                          <p:rCtr x="-10713" y="-3009"/>
                                        </p:animMotion>
                                      </p:childTnLst>
                                    </p:cTn>
                                  </p:par>
                                  <p:par>
                                    <p:cTn id="51" presetID="10" presetClass="exit" presetSubtype="0" fill="hold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animEffect transition="out" filter="fade">
                                          <p:cBhvr>
                                            <p:cTn id="52" dur="2000"/>
                                            <p:tgtEl>
                                              <p:spTgt spid="38"/>
                                            </p:tgtEl>
                                          </p:cBhvr>
                                        </p:animEffect>
                                        <p:set>
                                          <p:cBhvr>
                                            <p:cTn id="53" dur="1" fill="hold">
                                              <p:stCondLst>
                                                <p:cond delay="1999"/>
                                              </p:stCondLst>
                                            </p:cTn>
                                            <p:tgtEl>
                                              <p:spTgt spid="3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hidden"/>
                                          </p:to>
                                        </p:set>
                                      </p:childTnLst>
                                    </p:cTn>
                                  </p:par>
                                  <p:par>
                                    <p:cTn id="54" presetID="6" presetClass="emph" presetSubtype="0" fill="hold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animScale>
                                          <p:cBhvr>
                                            <p:cTn id="55" dur="2000" fill="hold"/>
                                            <p:tgtEl>
                                              <p:spTgt spid="38"/>
                                            </p:tgtEl>
                                          </p:cBhvr>
                                          <p:by x="25000" y="25000"/>
                                        </p:animScale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nextCondLst>
                    <p:cond evt="onMediaBookmark" delay="0">
                      <p:tgtEl>
                        <p14:bmkTgt spid="42" bmkName="Bookmark 1"/>
                      </p:tgtEl>
                    </p:cond>
                  </p:nextCondLst>
                </p:seq>
              </p:childTnLst>
            </p:cTn>
          </p:par>
        </p:tnLst>
      </p:timing>
    </mc:Choice>
    <mc:Fallback xmlns="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1" presetClass="mediacall" presetSubtype="0" fill="hold" nodeType="clickEffect">
                                      <p:stCondLst>
                                        <p:cond delay="0"/>
                                      </p:stCondLst>
                                      <p:childTnLst>
                                        <p:cmd type="call" cmd="playFrom(0.0)">
                                          <p:cBhvr>
                                            <p:cTn id="6" dur="6100" fill="hold"/>
                                            <p:tgtEl>
                                              <p:spTgt spid="42"/>
                                            </p:tgtEl>
                                          </p:cBhvr>
                                        </p:cmd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  <p:par>
                        <p:cTn id="7" fill="hold">
                          <p:stCondLst>
                            <p:cond delay="indefinite"/>
                          </p:stCondLst>
                          <p:childTnLst>
                            <p:par>
                              <p:cTn id="8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9" presetID="10" presetClass="entr" presetSubtype="0" fill="hold" nodeType="click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11" dur="500"/>
                                            <p:tgtEl>
                                              <p:spTgt spid="44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12" presetID="10" presetClass="entr" presetSubtype="0" fill="hold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3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0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14" dur="500"/>
                                            <p:tgtEl>
                                              <p:spTgt spid="20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15" presetID="10" presetClass="entr" presetSubtype="0" fill="hold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17" dur="500"/>
                                            <p:tgtEl>
                                              <p:spTgt spid="18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18" presetID="10" presetClass="entr" presetSubtype="0" fill="hold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9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20" dur="500"/>
                                            <p:tgtEl>
                                              <p:spTgt spid="26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  <p:audio>
                  <p:cMediaNode vol="80000" mute="1" showWhenStopped="0">
                    <p:cTn id="21" repeatCount="indefinite" fill="hold" display="0">
                      <p:stCondLst>
                        <p:cond delay="indefinite"/>
                      </p:stCondLst>
                      <p:endCondLst>
                        <p:cond evt="onStopAudio" delay="0">
                          <p:tgtEl>
                            <p:sldTgt/>
                          </p:tgtEl>
                        </p:cond>
                      </p:endCondLst>
                    </p:cTn>
                    <p:tgtEl>
                      <p:spTgt spid="42"/>
                    </p:tgtEl>
                  </p:cMediaNode>
                </p:audio>
              </p:childTnLst>
            </p:cTn>
          </p:par>
        </p:tnLst>
      </p:timing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ce réservé du contenu 5">
            <a:extLst>
              <a:ext uri="{FF2B5EF4-FFF2-40B4-BE49-F238E27FC236}">
                <a16:creationId xmlns:a16="http://schemas.microsoft.com/office/drawing/2014/main" id="{D037EEB5-6036-41AA-855E-326A8E292CA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fr-CA" sz="2800" dirty="0" err="1"/>
              <a:t>Demo</a:t>
            </a:r>
            <a:r>
              <a:rPr lang="fr-CA" sz="2800" dirty="0"/>
              <a:t> Time</a:t>
            </a: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A91FFEA6-3057-4A48-BFED-642641BF7190}"/>
              </a:ext>
            </a:extLst>
          </p:cNvPr>
          <p:cNvGrpSpPr/>
          <p:nvPr/>
        </p:nvGrpSpPr>
        <p:grpSpPr>
          <a:xfrm>
            <a:off x="99539" y="1184461"/>
            <a:ext cx="5922912" cy="2462712"/>
            <a:chOff x="3793331" y="2471698"/>
            <a:chExt cx="6114257" cy="2542272"/>
          </a:xfrm>
        </p:grpSpPr>
        <p:pic>
          <p:nvPicPr>
            <p:cNvPr id="4" name="Picture 3" descr="A picture containing person, person, indoor, dark&#10;&#10;Description automatically generated">
              <a:extLst>
                <a:ext uri="{FF2B5EF4-FFF2-40B4-BE49-F238E27FC236}">
                  <a16:creationId xmlns:a16="http://schemas.microsoft.com/office/drawing/2014/main" id="{263FDDF3-BFF4-4288-868E-DC0E1BC52BF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6736" b="16736"/>
            <a:stretch/>
          </p:blipFill>
          <p:spPr>
            <a:xfrm>
              <a:off x="3793331" y="2471698"/>
              <a:ext cx="6114256" cy="2542272"/>
            </a:xfrm>
            <a:prstGeom prst="rect">
              <a:avLst/>
            </a:prstGeom>
          </p:spPr>
        </p:pic>
        <p:sp>
          <p:nvSpPr>
            <p:cNvPr id="5" name="TextBox 4">
              <a:extLst>
                <a:ext uri="{FF2B5EF4-FFF2-40B4-BE49-F238E27FC236}">
                  <a16:creationId xmlns:a16="http://schemas.microsoft.com/office/drawing/2014/main" id="{EA3A10B9-0776-48EB-865F-FF61EE29D401}"/>
                </a:ext>
              </a:extLst>
            </p:cNvPr>
            <p:cNvSpPr txBox="1"/>
            <p:nvPr/>
          </p:nvSpPr>
          <p:spPr>
            <a:xfrm>
              <a:off x="3793332" y="4551739"/>
              <a:ext cx="6114256" cy="462231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400"/>
                </a:spcBef>
              </a:pPr>
              <a:r>
                <a:rPr lang="fr-CA" sz="1200" dirty="0">
                  <a:solidFill>
                    <a:schemeClr val="bg1"/>
                  </a:solidFill>
                  <a:effectLst/>
                  <a:latin typeface="Century Gothic" panose="020B0502020202020204" pitchFamily="34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Bon, d'habitude on commence avec les programmes d'opération,</a:t>
              </a:r>
            </a:p>
            <a:p>
              <a:pPr algn="ctr">
                <a:lnSpc>
                  <a:spcPct val="90000"/>
                </a:lnSpc>
                <a:spcBef>
                  <a:spcPts val="400"/>
                </a:spcBef>
              </a:pPr>
              <a:r>
                <a:rPr lang="fr-CA" sz="1200" dirty="0">
                  <a:solidFill>
                    <a:schemeClr val="bg1"/>
                  </a:solidFill>
                  <a:effectLst/>
                  <a:latin typeface="Century Gothic" panose="020B0502020202020204" pitchFamily="34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il y a rien de mieux pour se faire suer...</a:t>
              </a:r>
              <a:endParaRPr lang="fr-CA" sz="1600" dirty="0">
                <a:solidFill>
                  <a:schemeClr val="bg1"/>
                </a:solidFill>
                <a:latin typeface="Century Gothic" panose="020B0502020202020204" pitchFamily="34" charset="0"/>
              </a:endParaRPr>
            </a:p>
          </p:txBody>
        </p:sp>
      </p:grpSp>
      <p:grpSp>
        <p:nvGrpSpPr>
          <p:cNvPr id="15" name="Group 14">
            <a:extLst>
              <a:ext uri="{FF2B5EF4-FFF2-40B4-BE49-F238E27FC236}">
                <a16:creationId xmlns:a16="http://schemas.microsoft.com/office/drawing/2014/main" id="{4B669FEA-800E-4857-9D76-3EEBBD97F994}"/>
              </a:ext>
            </a:extLst>
          </p:cNvPr>
          <p:cNvGrpSpPr/>
          <p:nvPr/>
        </p:nvGrpSpPr>
        <p:grpSpPr>
          <a:xfrm>
            <a:off x="6163620" y="1184461"/>
            <a:ext cx="5922911" cy="2460638"/>
            <a:chOff x="6385619" y="1053530"/>
            <a:chExt cx="6119410" cy="2542272"/>
          </a:xfrm>
        </p:grpSpPr>
        <p:pic>
          <p:nvPicPr>
            <p:cNvPr id="10" name="Picture 9" descr="A person holding a microphone&#10;&#10;Description automatically generated with medium confidence">
              <a:extLst>
                <a:ext uri="{FF2B5EF4-FFF2-40B4-BE49-F238E27FC236}">
                  <a16:creationId xmlns:a16="http://schemas.microsoft.com/office/drawing/2014/main" id="{7214BCCF-6DAE-455C-8374-13E24410394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6736" r="-85" b="16736"/>
            <a:stretch/>
          </p:blipFill>
          <p:spPr>
            <a:xfrm>
              <a:off x="6385619" y="1053530"/>
              <a:ext cx="6119410" cy="2542272"/>
            </a:xfrm>
            <a:prstGeom prst="rect">
              <a:avLst/>
            </a:prstGeom>
          </p:spPr>
        </p:pic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4EED7F5D-8F2C-4880-9101-CFE14C776199}"/>
                </a:ext>
              </a:extLst>
            </p:cNvPr>
            <p:cNvSpPr txBox="1"/>
            <p:nvPr/>
          </p:nvSpPr>
          <p:spPr>
            <a:xfrm>
              <a:off x="6385619" y="3275905"/>
              <a:ext cx="6114256" cy="30777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fr-CA" sz="1400" dirty="0">
                  <a:solidFill>
                    <a:schemeClr val="bg1"/>
                  </a:solidFill>
                  <a:effectLst/>
                  <a:latin typeface="Century Gothic" panose="020B0502020202020204" pitchFamily="34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Alors on va faire un truc plus fun, comme par exemple...</a:t>
              </a:r>
              <a:endParaRPr lang="fr-CA" sz="1400" dirty="0">
                <a:solidFill>
                  <a:schemeClr val="bg1"/>
                </a:solidFill>
                <a:latin typeface="Century Gothic" panose="020B0502020202020204" pitchFamily="34" charset="0"/>
              </a:endParaRPr>
            </a:p>
          </p:txBody>
        </p:sp>
        <p:pic>
          <p:nvPicPr>
            <p:cNvPr id="14" name="Graphic 13">
              <a:extLst>
                <a:ext uri="{FF2B5EF4-FFF2-40B4-BE49-F238E27FC236}">
                  <a16:creationId xmlns:a16="http://schemas.microsoft.com/office/drawing/2014/main" id="{9561112A-A733-4F39-9738-FAC2BD690AA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 l="27216" t="19121" b="16201"/>
            <a:stretch/>
          </p:blipFill>
          <p:spPr>
            <a:xfrm rot="968861">
              <a:off x="7321723" y="2709714"/>
              <a:ext cx="583970" cy="124544"/>
            </a:xfrm>
            <a:prstGeom prst="rect">
              <a:avLst/>
            </a:prstGeom>
            <a:scene3d>
              <a:camera prst="isometricOffAxis2Left"/>
              <a:lightRig rig="threePt" dir="t"/>
            </a:scene3d>
          </p:spPr>
        </p:pic>
      </p:grpSp>
      <p:grpSp>
        <p:nvGrpSpPr>
          <p:cNvPr id="27" name="Group 26">
            <a:extLst>
              <a:ext uri="{FF2B5EF4-FFF2-40B4-BE49-F238E27FC236}">
                <a16:creationId xmlns:a16="http://schemas.microsoft.com/office/drawing/2014/main" id="{25E11E50-0A7E-4C5E-81CB-74D3CC1A98CB}"/>
              </a:ext>
            </a:extLst>
          </p:cNvPr>
          <p:cNvGrpSpPr/>
          <p:nvPr/>
        </p:nvGrpSpPr>
        <p:grpSpPr>
          <a:xfrm>
            <a:off x="2648471" y="3789834"/>
            <a:ext cx="6898231" cy="2703758"/>
            <a:chOff x="2079676" y="3534348"/>
            <a:chExt cx="7620000" cy="3168352"/>
          </a:xfrm>
        </p:grpSpPr>
        <p:pic>
          <p:nvPicPr>
            <p:cNvPr id="17" name="Picture 16" descr="A picture containing text, indoor, person, hand&#10;&#10;Description automatically generated">
              <a:extLst>
                <a:ext uri="{FF2B5EF4-FFF2-40B4-BE49-F238E27FC236}">
                  <a16:creationId xmlns:a16="http://schemas.microsoft.com/office/drawing/2014/main" id="{9F1F1BDC-83F5-4E25-9518-2F0EE282D69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6736" b="16736"/>
            <a:stretch/>
          </p:blipFill>
          <p:spPr>
            <a:xfrm>
              <a:off x="2079676" y="3534348"/>
              <a:ext cx="7620000" cy="3168352"/>
            </a:xfrm>
            <a:prstGeom prst="rect">
              <a:avLst/>
            </a:prstGeom>
          </p:spPr>
        </p:pic>
        <p:pic>
          <p:nvPicPr>
            <p:cNvPr id="20" name="Graphic 19">
              <a:extLst>
                <a:ext uri="{FF2B5EF4-FFF2-40B4-BE49-F238E27FC236}">
                  <a16:creationId xmlns:a16="http://schemas.microsoft.com/office/drawing/2014/main" id="{2E6653B1-9D58-4500-A210-4E50C606D5D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rcRect l="27821" t="19885" b="22050"/>
            <a:stretch/>
          </p:blipFill>
          <p:spPr>
            <a:xfrm rot="19804387">
              <a:off x="6804197" y="4627814"/>
              <a:ext cx="765987" cy="338606"/>
            </a:xfrm>
            <a:prstGeom prst="rect">
              <a:avLst/>
            </a:prstGeom>
            <a:scene3d>
              <a:camera prst="isometricOffAxis1Top">
                <a:rot lat="18711955" lon="18749359" rev="2544534"/>
              </a:camera>
              <a:lightRig rig="threePt" dir="t"/>
            </a:scene3d>
          </p:spPr>
        </p:pic>
      </p:grpSp>
    </p:spTree>
    <p:extLst>
      <p:ext uri="{BB962C8B-B14F-4D97-AF65-F5344CB8AC3E}">
        <p14:creationId xmlns:p14="http://schemas.microsoft.com/office/powerpoint/2010/main" val="38023301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ce réservé du contenu 5">
            <a:extLst>
              <a:ext uri="{FF2B5EF4-FFF2-40B4-BE49-F238E27FC236}">
                <a16:creationId xmlns:a16="http://schemas.microsoft.com/office/drawing/2014/main" id="{D037EEB5-6036-41AA-855E-326A8E292CAE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4711339" y="2853730"/>
            <a:ext cx="2772495" cy="719485"/>
          </a:xfrm>
        </p:spPr>
        <p:txBody>
          <a:bodyPr/>
          <a:lstStyle/>
          <a:p>
            <a:r>
              <a:rPr lang="fr-CA" dirty="0" err="1"/>
              <a:t>Demo</a:t>
            </a:r>
            <a:endParaRPr lang="fr-CA" dirty="0"/>
          </a:p>
        </p:txBody>
      </p:sp>
    </p:spTree>
    <p:extLst>
      <p:ext uri="{BB962C8B-B14F-4D97-AF65-F5344CB8AC3E}">
        <p14:creationId xmlns:p14="http://schemas.microsoft.com/office/powerpoint/2010/main" val="34881186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1ED0BA66-37B8-4B7F-B854-1C981799A94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algn="r">
              <a:defRPr/>
            </a:pPr>
            <a:fld id="{BC240EC6-B97B-449A-9055-D713C252FD31}" type="slidenum">
              <a:rPr lang="fr-CA" altLang="fr-FR" smtClean="0"/>
              <a:pPr algn="r">
                <a:defRPr/>
              </a:pPr>
              <a:t>15</a:t>
            </a:fld>
            <a:endParaRPr lang="fr-CA" altLang="fr-FR" dirty="0"/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C852CB19-EA03-482A-8873-547E38F2589D}"/>
              </a:ext>
            </a:extLst>
          </p:cNvPr>
          <p:cNvGrpSpPr/>
          <p:nvPr/>
        </p:nvGrpSpPr>
        <p:grpSpPr>
          <a:xfrm>
            <a:off x="2287586" y="2133650"/>
            <a:ext cx="7620000" cy="3168352"/>
            <a:chOff x="2287586" y="2133650"/>
            <a:chExt cx="7620000" cy="3168352"/>
          </a:xfrm>
        </p:grpSpPr>
        <p:pic>
          <p:nvPicPr>
            <p:cNvPr id="6" name="Picture 5" descr="A person with his mouth open&#10;&#10;Description automatically generated with medium confidence">
              <a:extLst>
                <a:ext uri="{FF2B5EF4-FFF2-40B4-BE49-F238E27FC236}">
                  <a16:creationId xmlns:a16="http://schemas.microsoft.com/office/drawing/2014/main" id="{953BA517-5AAE-4E18-866E-CB9538343A5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6736" b="16736"/>
            <a:stretch/>
          </p:blipFill>
          <p:spPr>
            <a:xfrm>
              <a:off x="2287586" y="2133650"/>
              <a:ext cx="7620000" cy="3168352"/>
            </a:xfrm>
            <a:prstGeom prst="rect">
              <a:avLst/>
            </a:prstGeom>
          </p:spPr>
        </p:pic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E8FF8314-56E8-4A68-979B-54E354258490}"/>
                </a:ext>
              </a:extLst>
            </p:cNvPr>
            <p:cNvSpPr txBox="1"/>
            <p:nvPr/>
          </p:nvSpPr>
          <p:spPr>
            <a:xfrm>
              <a:off x="4896828" y="4901892"/>
              <a:ext cx="2401515" cy="40011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fr-CA" sz="2000" dirty="0">
                  <a:solidFill>
                    <a:schemeClr val="bg1"/>
                  </a:solidFill>
                  <a:effectLst/>
                  <a:latin typeface="Century Gothic" panose="020B0502020202020204" pitchFamily="34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I know Terraform </a:t>
              </a:r>
              <a:endParaRPr lang="fr-CA" sz="2000" dirty="0">
                <a:solidFill>
                  <a:schemeClr val="bg1"/>
                </a:solidFill>
                <a:latin typeface="Century Gothic" panose="020B0502020202020204" pitchFamily="34" charset="0"/>
              </a:endParaRPr>
            </a:p>
          </p:txBody>
        </p:sp>
      </p:grpSp>
      <p:sp>
        <p:nvSpPr>
          <p:cNvPr id="9" name="Espace réservé du contenu 5">
            <a:extLst>
              <a:ext uri="{FF2B5EF4-FFF2-40B4-BE49-F238E27FC236}">
                <a16:creationId xmlns:a16="http://schemas.microsoft.com/office/drawing/2014/main" id="{0B400699-241C-43BC-B956-02D6AC8A38A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92931" y="237296"/>
            <a:ext cx="7488832" cy="432047"/>
          </a:xfrm>
        </p:spPr>
        <p:txBody>
          <a:bodyPr/>
          <a:lstStyle/>
          <a:p>
            <a:r>
              <a:rPr lang="fr-CA" sz="2800" dirty="0" err="1"/>
              <a:t>Demo</a:t>
            </a:r>
            <a:r>
              <a:rPr lang="fr-CA" sz="2800" dirty="0"/>
              <a:t> Time</a:t>
            </a:r>
          </a:p>
        </p:txBody>
      </p:sp>
    </p:spTree>
    <p:extLst>
      <p:ext uri="{BB962C8B-B14F-4D97-AF65-F5344CB8AC3E}">
        <p14:creationId xmlns:p14="http://schemas.microsoft.com/office/powerpoint/2010/main" val="4042898992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F1EAA02-7FDE-4EAD-9A58-D12572A316F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CA" sz="2800" dirty="0"/>
              <a:t>Résumé</a:t>
            </a:r>
            <a:endParaRPr lang="fr-CA" sz="2800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26504DD2-CE40-4B52-AF1A-5866F4D3AC16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655425" y="6454775"/>
            <a:ext cx="539750" cy="334963"/>
          </a:xfrm>
          <a:prstGeom prst="rect">
            <a:avLst/>
          </a:prstGeom>
        </p:spPr>
        <p:txBody>
          <a:bodyPr/>
          <a:lstStyle/>
          <a:p>
            <a:pPr algn="r">
              <a:defRPr/>
            </a:pPr>
            <a:fld id="{BC240EC6-B97B-449A-9055-D713C252FD31}" type="slidenum">
              <a:rPr lang="fr-CA" altLang="fr-FR" smtClean="0"/>
              <a:pPr algn="r">
                <a:defRPr/>
              </a:pPr>
              <a:t>16</a:t>
            </a:fld>
            <a:endParaRPr lang="fr-CA" altLang="fr-FR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96279A4E-BE64-4006-95DC-96FFA59AD64C}"/>
              </a:ext>
            </a:extLst>
          </p:cNvPr>
          <p:cNvSpPr txBox="1"/>
          <p:nvPr/>
        </p:nvSpPr>
        <p:spPr>
          <a:xfrm>
            <a:off x="3865339" y="1341562"/>
            <a:ext cx="8136904" cy="532859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marL="342900" indent="-342900">
              <a:lnSpc>
                <a:spcPct val="90000"/>
              </a:lnSpc>
              <a:spcBef>
                <a:spcPts val="400"/>
              </a:spcBef>
              <a:buClr>
                <a:srgbClr val="FF9A00"/>
              </a:buClr>
              <a:buSzPct val="125000"/>
              <a:buFont typeface="Arial" panose="020B0604020202020204" pitchFamily="34" charset="0"/>
              <a:buChar char="•"/>
            </a:pPr>
            <a:r>
              <a:rPr lang="fr-CA" dirty="0">
                <a:solidFill>
                  <a:srgbClr val="07072B"/>
                </a:solidFill>
                <a:latin typeface="Century Gothic" panose="020B0502020202020204" pitchFamily="34" charset="0"/>
              </a:rPr>
              <a:t>Backend : stocker les états</a:t>
            </a:r>
          </a:p>
          <a:p>
            <a:pPr marL="342900" indent="-342900">
              <a:lnSpc>
                <a:spcPct val="90000"/>
              </a:lnSpc>
              <a:spcBef>
                <a:spcPts val="400"/>
              </a:spcBef>
              <a:buClr>
                <a:srgbClr val="FF9A00"/>
              </a:buClr>
              <a:buSzPct val="125000"/>
              <a:buFont typeface="Arial" panose="020B0604020202020204" pitchFamily="34" charset="0"/>
              <a:buChar char="•"/>
            </a:pPr>
            <a:endParaRPr lang="fr-CA" dirty="0">
              <a:solidFill>
                <a:srgbClr val="07072B"/>
              </a:solidFill>
              <a:latin typeface="Century Gothic" panose="020B0502020202020204" pitchFamily="34" charset="0"/>
            </a:endParaRPr>
          </a:p>
          <a:p>
            <a:pPr marL="342900" indent="-342900">
              <a:lnSpc>
                <a:spcPct val="90000"/>
              </a:lnSpc>
              <a:spcBef>
                <a:spcPts val="400"/>
              </a:spcBef>
              <a:buClr>
                <a:srgbClr val="FF9A00"/>
              </a:buClr>
              <a:buSzPct val="125000"/>
              <a:buFont typeface="Arial" panose="020B0604020202020204" pitchFamily="34" charset="0"/>
              <a:buChar char="•"/>
            </a:pPr>
            <a:r>
              <a:rPr lang="fr-CA" dirty="0">
                <a:solidFill>
                  <a:srgbClr val="07072B"/>
                </a:solidFill>
                <a:latin typeface="Century Gothic" panose="020B0502020202020204" pitchFamily="34" charset="0"/>
              </a:rPr>
              <a:t>Providers : accès aux fournisseurs</a:t>
            </a:r>
          </a:p>
          <a:p>
            <a:pPr marL="342900" indent="-342900">
              <a:lnSpc>
                <a:spcPct val="90000"/>
              </a:lnSpc>
              <a:spcBef>
                <a:spcPts val="400"/>
              </a:spcBef>
              <a:buClr>
                <a:srgbClr val="FF9A00"/>
              </a:buClr>
              <a:buSzPct val="125000"/>
              <a:buFont typeface="Arial" panose="020B0604020202020204" pitchFamily="34" charset="0"/>
              <a:buChar char="•"/>
            </a:pPr>
            <a:endParaRPr lang="fr-CA" dirty="0">
              <a:solidFill>
                <a:srgbClr val="07072B"/>
              </a:solidFill>
              <a:latin typeface="Century Gothic" panose="020B0502020202020204" pitchFamily="34" charset="0"/>
            </a:endParaRPr>
          </a:p>
          <a:p>
            <a:pPr marL="342900" indent="-342900">
              <a:lnSpc>
                <a:spcPct val="90000"/>
              </a:lnSpc>
              <a:spcBef>
                <a:spcPts val="400"/>
              </a:spcBef>
              <a:buClr>
                <a:srgbClr val="FF9A00"/>
              </a:buClr>
              <a:buSzPct val="125000"/>
              <a:buFont typeface="Arial" panose="020B0604020202020204" pitchFamily="34" charset="0"/>
              <a:buChar char="•"/>
            </a:pPr>
            <a:r>
              <a:rPr lang="fr-CA" dirty="0">
                <a:solidFill>
                  <a:srgbClr val="07072B"/>
                </a:solidFill>
                <a:latin typeface="Century Gothic" panose="020B0502020202020204" pitchFamily="34" charset="0"/>
              </a:rPr>
              <a:t>Scripts.tf</a:t>
            </a:r>
          </a:p>
          <a:p>
            <a:pPr marL="342900" indent="-342900">
              <a:lnSpc>
                <a:spcPct val="90000"/>
              </a:lnSpc>
              <a:spcBef>
                <a:spcPts val="400"/>
              </a:spcBef>
              <a:buClr>
                <a:srgbClr val="FF9A00"/>
              </a:buClr>
              <a:buSzPct val="125000"/>
              <a:buFont typeface="Arial" panose="020B0604020202020204" pitchFamily="34" charset="0"/>
              <a:buChar char="•"/>
            </a:pPr>
            <a:endParaRPr lang="fr-CA" dirty="0">
              <a:solidFill>
                <a:srgbClr val="07072B"/>
              </a:solidFill>
              <a:latin typeface="Century Gothic" panose="020B0502020202020204" pitchFamily="34" charset="0"/>
            </a:endParaRPr>
          </a:p>
          <a:p>
            <a:pPr marL="342900" indent="-342900">
              <a:lnSpc>
                <a:spcPct val="90000"/>
              </a:lnSpc>
              <a:spcBef>
                <a:spcPts val="400"/>
              </a:spcBef>
              <a:buClr>
                <a:srgbClr val="FF9A00"/>
              </a:buClr>
              <a:buSzPct val="125000"/>
              <a:buFont typeface="Arial" panose="020B0604020202020204" pitchFamily="34" charset="0"/>
              <a:buChar char="•"/>
            </a:pPr>
            <a:r>
              <a:rPr lang="fr-CA" dirty="0" err="1">
                <a:solidFill>
                  <a:srgbClr val="07072B"/>
                </a:solidFill>
                <a:latin typeface="Century Gothic" panose="020B0502020202020204" pitchFamily="34" charset="0"/>
              </a:rPr>
              <a:t>données.tfvars</a:t>
            </a:r>
            <a:r>
              <a:rPr lang="fr-CA" dirty="0">
                <a:solidFill>
                  <a:srgbClr val="07072B"/>
                </a:solidFill>
                <a:latin typeface="Century Gothic" panose="020B0502020202020204" pitchFamily="34" charset="0"/>
              </a:rPr>
              <a:t>, *.</a:t>
            </a:r>
            <a:r>
              <a:rPr lang="fr-CA" dirty="0" err="1">
                <a:solidFill>
                  <a:srgbClr val="07072B"/>
                </a:solidFill>
                <a:latin typeface="Century Gothic" panose="020B0502020202020204" pitchFamily="34" charset="0"/>
              </a:rPr>
              <a:t>auto.tfvars</a:t>
            </a:r>
            <a:r>
              <a:rPr lang="fr-CA" dirty="0">
                <a:solidFill>
                  <a:srgbClr val="07072B"/>
                </a:solidFill>
                <a:latin typeface="Century Gothic" panose="020B0502020202020204" pitchFamily="34" charset="0"/>
              </a:rPr>
              <a:t>, </a:t>
            </a:r>
            <a:r>
              <a:rPr lang="fr-CA" dirty="0" err="1">
                <a:solidFill>
                  <a:srgbClr val="07072B"/>
                </a:solidFill>
                <a:latin typeface="Century Gothic" panose="020B0502020202020204" pitchFamily="34" charset="0"/>
              </a:rPr>
              <a:t>terraform.tfvars</a:t>
            </a:r>
            <a:endParaRPr lang="fr-CA" dirty="0">
              <a:solidFill>
                <a:srgbClr val="07072B"/>
              </a:solidFill>
              <a:latin typeface="Century Gothic" panose="020B0502020202020204" pitchFamily="34" charset="0"/>
            </a:endParaRPr>
          </a:p>
          <a:p>
            <a:pPr marL="342900" indent="-342900">
              <a:lnSpc>
                <a:spcPct val="90000"/>
              </a:lnSpc>
              <a:spcBef>
                <a:spcPts val="400"/>
              </a:spcBef>
              <a:buClr>
                <a:srgbClr val="FF9A00"/>
              </a:buClr>
              <a:buSzPct val="125000"/>
              <a:buFont typeface="Arial" panose="020B0604020202020204" pitchFamily="34" charset="0"/>
              <a:buChar char="•"/>
            </a:pPr>
            <a:endParaRPr lang="fr-CA" dirty="0">
              <a:solidFill>
                <a:srgbClr val="07072B"/>
              </a:solidFill>
              <a:latin typeface="Century Gothic" panose="020B0502020202020204" pitchFamily="34" charset="0"/>
            </a:endParaRPr>
          </a:p>
          <a:p>
            <a:pPr marL="342900" indent="-342900">
              <a:lnSpc>
                <a:spcPct val="90000"/>
              </a:lnSpc>
              <a:spcBef>
                <a:spcPts val="400"/>
              </a:spcBef>
              <a:buClr>
                <a:srgbClr val="FF9A00"/>
              </a:buClr>
              <a:buSzPct val="125000"/>
              <a:buFont typeface="Arial" panose="020B0604020202020204" pitchFamily="34" charset="0"/>
              <a:buChar char="•"/>
            </a:pPr>
            <a:r>
              <a:rPr lang="fr-CA" dirty="0">
                <a:solidFill>
                  <a:srgbClr val="07072B"/>
                </a:solidFill>
                <a:latin typeface="Century Gothic" panose="020B0502020202020204" pitchFamily="34" charset="0"/>
              </a:rPr>
              <a:t>La séparation des fichiers</a:t>
            </a:r>
          </a:p>
          <a:p>
            <a:pPr marL="342900" indent="-342900">
              <a:lnSpc>
                <a:spcPct val="90000"/>
              </a:lnSpc>
              <a:spcBef>
                <a:spcPts val="400"/>
              </a:spcBef>
              <a:buClr>
                <a:srgbClr val="FF9A00"/>
              </a:buClr>
              <a:buSzPct val="125000"/>
              <a:buFont typeface="Arial" panose="020B0604020202020204" pitchFamily="34" charset="0"/>
              <a:buChar char="•"/>
            </a:pPr>
            <a:endParaRPr lang="fr-CA" dirty="0">
              <a:solidFill>
                <a:srgbClr val="07072B"/>
              </a:solidFill>
              <a:latin typeface="Century Gothic" panose="020B0502020202020204" pitchFamily="34" charset="0"/>
            </a:endParaRPr>
          </a:p>
          <a:p>
            <a:pPr marL="342900" indent="-342900">
              <a:lnSpc>
                <a:spcPct val="90000"/>
              </a:lnSpc>
              <a:spcBef>
                <a:spcPts val="400"/>
              </a:spcBef>
              <a:buClr>
                <a:srgbClr val="FF9A00"/>
              </a:buClr>
              <a:buSzPct val="125000"/>
              <a:buFont typeface="Arial" panose="020B0604020202020204" pitchFamily="34" charset="0"/>
              <a:buChar char="•"/>
            </a:pPr>
            <a:r>
              <a:rPr lang="fr-CA" dirty="0">
                <a:solidFill>
                  <a:srgbClr val="07072B"/>
                </a:solidFill>
                <a:latin typeface="Century Gothic" panose="020B0502020202020204" pitchFamily="34" charset="0"/>
              </a:rPr>
              <a:t>Dossier courant seulement</a:t>
            </a:r>
          </a:p>
        </p:txBody>
      </p:sp>
    </p:spTree>
    <p:extLst>
      <p:ext uri="{BB962C8B-B14F-4D97-AF65-F5344CB8AC3E}">
        <p14:creationId xmlns:p14="http://schemas.microsoft.com/office/powerpoint/2010/main" val="3965520164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ce réservé du contenu 5">
            <a:extLst>
              <a:ext uri="{FF2B5EF4-FFF2-40B4-BE49-F238E27FC236}">
                <a16:creationId xmlns:a16="http://schemas.microsoft.com/office/drawing/2014/main" id="{D037EEB5-6036-41AA-855E-326A8E292CAE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3964303" y="3070052"/>
            <a:ext cx="4266568" cy="719485"/>
          </a:xfrm>
        </p:spPr>
        <p:txBody>
          <a:bodyPr/>
          <a:lstStyle/>
          <a:p>
            <a:r>
              <a:rPr lang="fr-CA" dirty="0"/>
              <a:t>Fonctionnement</a:t>
            </a:r>
          </a:p>
        </p:txBody>
      </p:sp>
    </p:spTree>
    <p:extLst>
      <p:ext uri="{BB962C8B-B14F-4D97-AF65-F5344CB8AC3E}">
        <p14:creationId xmlns:p14="http://schemas.microsoft.com/office/powerpoint/2010/main" val="17217468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Click="0" advTm="3000">
        <p:fade/>
      </p:transition>
    </mc:Choice>
    <mc:Fallback xmlns="">
      <p:transition spd="med" advClick="0" advTm="3000"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1B7745B-A72D-46D1-BCEE-1C5467034BC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CA" sz="2800" dirty="0"/>
              <a:t>Local </a:t>
            </a:r>
            <a:r>
              <a:rPr lang="en-CA" sz="2800" dirty="0" err="1"/>
              <a:t>ou</a:t>
            </a:r>
            <a:r>
              <a:rPr lang="en-CA" sz="2800" dirty="0"/>
              <a:t> Pipeline</a:t>
            </a:r>
            <a:endParaRPr lang="fr-CA" sz="2800" dirty="0"/>
          </a:p>
        </p:txBody>
      </p:sp>
      <p:pic>
        <p:nvPicPr>
          <p:cNvPr id="16" name="Picture 15" descr="Shape&#10;&#10;Description automatically generated with medium confidence">
            <a:extLst>
              <a:ext uri="{FF2B5EF4-FFF2-40B4-BE49-F238E27FC236}">
                <a16:creationId xmlns:a16="http://schemas.microsoft.com/office/drawing/2014/main" id="{0934CC82-8314-4800-B7E0-A629BB9FB51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2380" y="4075172"/>
            <a:ext cx="7172325" cy="2371725"/>
          </a:xfrm>
          <a:prstGeom prst="rect">
            <a:avLst/>
          </a:prstGeom>
        </p:spPr>
      </p:pic>
      <p:grpSp>
        <p:nvGrpSpPr>
          <p:cNvPr id="587" name="Group 586">
            <a:extLst>
              <a:ext uri="{FF2B5EF4-FFF2-40B4-BE49-F238E27FC236}">
                <a16:creationId xmlns:a16="http://schemas.microsoft.com/office/drawing/2014/main" id="{F8D1DC3A-9AC7-4834-9F21-BB89B68E3F49}"/>
              </a:ext>
            </a:extLst>
          </p:cNvPr>
          <p:cNvGrpSpPr/>
          <p:nvPr/>
        </p:nvGrpSpPr>
        <p:grpSpPr>
          <a:xfrm>
            <a:off x="2713211" y="1341562"/>
            <a:ext cx="2448272" cy="2583410"/>
            <a:chOff x="2713211" y="1341562"/>
            <a:chExt cx="2448272" cy="2583410"/>
          </a:xfrm>
        </p:grpSpPr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A8121CF7-AC9B-4C75-BE27-585022CC1E29}"/>
                </a:ext>
              </a:extLst>
            </p:cNvPr>
            <p:cNvSpPr txBox="1"/>
            <p:nvPr/>
          </p:nvSpPr>
          <p:spPr>
            <a:xfrm>
              <a:off x="2713211" y="3586418"/>
              <a:ext cx="2448272" cy="33855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fr-CA" sz="1600" u="sng" dirty="0">
                  <a:solidFill>
                    <a:srgbClr val="9B9B9B"/>
                  </a:solidFill>
                  <a:effectLst/>
                  <a:latin typeface="Century Gothic" panose="020B0502020202020204" pitchFamily="34" charset="0"/>
                  <a:ea typeface="Times New Roman" panose="02020603050405020304" pitchFamily="18" charset="0"/>
                  <a:cs typeface="Times New Roman" panose="02020603050405020304" pitchFamily="18" charset="0"/>
                  <a:hlinkClick r:id="rId4"/>
                </a:rPr>
                <a:t>Télécharger Terraform</a:t>
              </a:r>
              <a:endParaRPr lang="fr-CA" sz="1600" dirty="0">
                <a:solidFill>
                  <a:srgbClr val="9B9B9B"/>
                </a:solidFill>
                <a:latin typeface="Century Gothic" panose="020B0502020202020204" pitchFamily="34" charset="0"/>
              </a:endParaRPr>
            </a:p>
          </p:txBody>
        </p:sp>
        <p:pic>
          <p:nvPicPr>
            <p:cNvPr id="583" name="Graphic 582">
              <a:extLst>
                <a:ext uri="{FF2B5EF4-FFF2-40B4-BE49-F238E27FC236}">
                  <a16:creationId xmlns:a16="http://schemas.microsoft.com/office/drawing/2014/main" id="{DB45A407-BA85-48DB-9708-4ABC48E1709A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2751484" y="1341562"/>
              <a:ext cx="2340000" cy="2340000"/>
            </a:xfrm>
            <a:prstGeom prst="rect">
              <a:avLst/>
            </a:prstGeom>
          </p:spPr>
        </p:pic>
      </p:grpSp>
      <p:grpSp>
        <p:nvGrpSpPr>
          <p:cNvPr id="590" name="Group 589">
            <a:extLst>
              <a:ext uri="{FF2B5EF4-FFF2-40B4-BE49-F238E27FC236}">
                <a16:creationId xmlns:a16="http://schemas.microsoft.com/office/drawing/2014/main" id="{2824C63E-0C23-4D5F-B9CE-C555B15B3079}"/>
              </a:ext>
            </a:extLst>
          </p:cNvPr>
          <p:cNvGrpSpPr/>
          <p:nvPr/>
        </p:nvGrpSpPr>
        <p:grpSpPr>
          <a:xfrm>
            <a:off x="6520306" y="1341562"/>
            <a:ext cx="5305500" cy="2583410"/>
            <a:chOff x="7135117" y="1341562"/>
            <a:chExt cx="5305500" cy="2583410"/>
          </a:xfrm>
        </p:grpSpPr>
        <p:pic>
          <p:nvPicPr>
            <p:cNvPr id="586" name="Graphic 585">
              <a:extLst>
                <a:ext uri="{FF2B5EF4-FFF2-40B4-BE49-F238E27FC236}">
                  <a16:creationId xmlns:a16="http://schemas.microsoft.com/office/drawing/2014/main" id="{006C5159-BFA3-482E-8E5C-C10B0A6118D2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8617867" y="1341562"/>
              <a:ext cx="2340000" cy="2340000"/>
            </a:xfrm>
            <a:prstGeom prst="rect">
              <a:avLst/>
            </a:prstGeom>
          </p:spPr>
        </p:pic>
        <p:sp>
          <p:nvSpPr>
            <p:cNvPr id="589" name="TextBox 588">
              <a:extLst>
                <a:ext uri="{FF2B5EF4-FFF2-40B4-BE49-F238E27FC236}">
                  <a16:creationId xmlns:a16="http://schemas.microsoft.com/office/drawing/2014/main" id="{06B64E2E-1E31-4EDF-8476-22D34CAAD8EF}"/>
                </a:ext>
              </a:extLst>
            </p:cNvPr>
            <p:cNvSpPr txBox="1"/>
            <p:nvPr/>
          </p:nvSpPr>
          <p:spPr>
            <a:xfrm>
              <a:off x="7135117" y="3586418"/>
              <a:ext cx="5305500" cy="33855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fr-CA" sz="1600" dirty="0">
                  <a:solidFill>
                    <a:srgbClr val="7D7D7D"/>
                  </a:solidFill>
                  <a:latin typeface="Century Gothic" panose="020B0502020202020204" pitchFamily="34" charset="0"/>
                  <a:hlinkClick r:id="rId9"/>
                </a:rPr>
                <a:t>Liste des outils embarqués dans Agent Ubuntu 20.04</a:t>
              </a:r>
              <a:endParaRPr lang="fr-CA" sz="1600" dirty="0">
                <a:solidFill>
                  <a:srgbClr val="9B9B9B"/>
                </a:solidFill>
                <a:latin typeface="Century Gothic" panose="020B0502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726576754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15EEAF0F-9890-4A64-8D18-196176D1990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algn="r">
              <a:defRPr/>
            </a:pPr>
            <a:fld id="{BC240EC6-B97B-449A-9055-D713C252FD31}" type="slidenum">
              <a:rPr lang="fr-CA" altLang="fr-FR" smtClean="0"/>
              <a:pPr algn="r">
                <a:defRPr/>
              </a:pPr>
              <a:t>19</a:t>
            </a:fld>
            <a:endParaRPr lang="fr-CA" altLang="fr-FR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42D2DF8-AF3E-4D91-86D0-0627C4B3123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CA" sz="2800" dirty="0"/>
              <a:t>Les </a:t>
            </a:r>
            <a:r>
              <a:rPr lang="en-CA" sz="2800" dirty="0" err="1"/>
              <a:t>commandes</a:t>
            </a:r>
            <a:endParaRPr lang="fr-CA" sz="2800" dirty="0"/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CC39B061-927B-4ED7-8172-98D23BD6E9A5}"/>
              </a:ext>
            </a:extLst>
          </p:cNvPr>
          <p:cNvGrpSpPr/>
          <p:nvPr/>
        </p:nvGrpSpPr>
        <p:grpSpPr>
          <a:xfrm>
            <a:off x="1430394" y="2205658"/>
            <a:ext cx="2520000" cy="3240080"/>
            <a:chOff x="1430394" y="2205658"/>
            <a:chExt cx="2520000" cy="3240080"/>
          </a:xfrm>
        </p:grpSpPr>
        <p:pic>
          <p:nvPicPr>
            <p:cNvPr id="11" name="Graphic 10">
              <a:extLst>
                <a:ext uri="{FF2B5EF4-FFF2-40B4-BE49-F238E27FC236}">
                  <a16:creationId xmlns:a16="http://schemas.microsoft.com/office/drawing/2014/main" id="{437C6FA8-89D8-4F69-960C-425628F7D040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1430394" y="2925738"/>
              <a:ext cx="2520000" cy="2520000"/>
            </a:xfrm>
            <a:prstGeom prst="rect">
              <a:avLst/>
            </a:prstGeom>
          </p:spPr>
        </p:pic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0BBDF6D9-E505-47A2-9BFD-914DEC99D506}"/>
                </a:ext>
              </a:extLst>
            </p:cNvPr>
            <p:cNvSpPr txBox="1"/>
            <p:nvPr/>
          </p:nvSpPr>
          <p:spPr>
            <a:xfrm>
              <a:off x="2342373" y="2205658"/>
              <a:ext cx="696041" cy="504056"/>
            </a:xfrm>
            <a:prstGeom prst="rect">
              <a:avLst/>
            </a:prstGeom>
            <a:noFill/>
          </p:spPr>
          <p:txBody>
            <a:bodyPr wrap="none" lIns="0" tIns="0" rIns="0" bIns="0" rtlCol="0" anchor="t"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400"/>
                </a:spcBef>
              </a:pPr>
              <a:r>
                <a:rPr lang="en-CA" sz="3600" b="1" dirty="0">
                  <a:solidFill>
                    <a:srgbClr val="FF9A00"/>
                  </a:solidFill>
                  <a:latin typeface="Century Gothic" panose="020B0502020202020204" pitchFamily="34" charset="0"/>
                </a:rPr>
                <a:t>Init</a:t>
              </a:r>
              <a:endParaRPr lang="fr-CA" sz="3600" b="1" dirty="0" err="1">
                <a:solidFill>
                  <a:srgbClr val="FF9A00"/>
                </a:solidFill>
                <a:latin typeface="Century Gothic" panose="020B0502020202020204" pitchFamily="34" charset="0"/>
              </a:endParaRPr>
            </a:p>
          </p:txBody>
        </p:sp>
      </p:grpSp>
      <p:grpSp>
        <p:nvGrpSpPr>
          <p:cNvPr id="16" name="Group 15">
            <a:extLst>
              <a:ext uri="{FF2B5EF4-FFF2-40B4-BE49-F238E27FC236}">
                <a16:creationId xmlns:a16="http://schemas.microsoft.com/office/drawing/2014/main" id="{0603B4C7-B800-4929-97CB-7164018656E5}"/>
              </a:ext>
            </a:extLst>
          </p:cNvPr>
          <p:cNvGrpSpPr/>
          <p:nvPr/>
        </p:nvGrpSpPr>
        <p:grpSpPr>
          <a:xfrm>
            <a:off x="5147311" y="2205658"/>
            <a:ext cx="1841591" cy="3240080"/>
            <a:chOff x="5147311" y="2205658"/>
            <a:chExt cx="1841591" cy="3240080"/>
          </a:xfrm>
        </p:grpSpPr>
        <p:pic>
          <p:nvPicPr>
            <p:cNvPr id="9" name="Graphic 8">
              <a:extLst>
                <a:ext uri="{FF2B5EF4-FFF2-40B4-BE49-F238E27FC236}">
                  <a16:creationId xmlns:a16="http://schemas.microsoft.com/office/drawing/2014/main" id="{A2861C97-9BFA-49A3-A3B0-C98287B455D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 r="26921"/>
            <a:stretch/>
          </p:blipFill>
          <p:spPr>
            <a:xfrm>
              <a:off x="5147311" y="2925738"/>
              <a:ext cx="1841591" cy="2520000"/>
            </a:xfrm>
            <a:prstGeom prst="rect">
              <a:avLst/>
            </a:prstGeom>
          </p:spPr>
        </p:pic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743EA057-436D-4821-AFF7-6EA5188F9ADE}"/>
                </a:ext>
              </a:extLst>
            </p:cNvPr>
            <p:cNvSpPr txBox="1"/>
            <p:nvPr/>
          </p:nvSpPr>
          <p:spPr>
            <a:xfrm>
              <a:off x="5619476" y="2205658"/>
              <a:ext cx="956221" cy="504056"/>
            </a:xfrm>
            <a:prstGeom prst="rect">
              <a:avLst/>
            </a:prstGeom>
            <a:noFill/>
          </p:spPr>
          <p:txBody>
            <a:bodyPr wrap="none" lIns="0" tIns="0" rIns="0" bIns="0" rtlCol="0" anchor="t"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400"/>
                </a:spcBef>
              </a:pPr>
              <a:r>
                <a:rPr lang="en-CA" sz="3600" b="1" dirty="0">
                  <a:solidFill>
                    <a:srgbClr val="FF9A00"/>
                  </a:solidFill>
                  <a:latin typeface="Century Gothic" panose="020B0502020202020204" pitchFamily="34" charset="0"/>
                </a:rPr>
                <a:t>Plan</a:t>
              </a:r>
              <a:endParaRPr lang="fr-CA" sz="3600" b="1" dirty="0" err="1">
                <a:solidFill>
                  <a:srgbClr val="FF9A00"/>
                </a:solidFill>
                <a:latin typeface="Century Gothic" panose="020B0502020202020204" pitchFamily="34" charset="0"/>
              </a:endParaRPr>
            </a:p>
          </p:txBody>
        </p:sp>
      </p:grpSp>
      <p:grpSp>
        <p:nvGrpSpPr>
          <p:cNvPr id="17" name="Group 16">
            <a:extLst>
              <a:ext uri="{FF2B5EF4-FFF2-40B4-BE49-F238E27FC236}">
                <a16:creationId xmlns:a16="http://schemas.microsoft.com/office/drawing/2014/main" id="{A8457730-8D5A-4229-9260-79CA78CD51C2}"/>
              </a:ext>
            </a:extLst>
          </p:cNvPr>
          <p:cNvGrpSpPr/>
          <p:nvPr/>
        </p:nvGrpSpPr>
        <p:grpSpPr>
          <a:xfrm>
            <a:off x="8185819" y="2205658"/>
            <a:ext cx="2520000" cy="3240080"/>
            <a:chOff x="8185819" y="2205658"/>
            <a:chExt cx="2520000" cy="3240080"/>
          </a:xfrm>
        </p:grpSpPr>
        <p:pic>
          <p:nvPicPr>
            <p:cNvPr id="7" name="Graphic 6">
              <a:extLst>
                <a:ext uri="{FF2B5EF4-FFF2-40B4-BE49-F238E27FC236}">
                  <a16:creationId xmlns:a16="http://schemas.microsoft.com/office/drawing/2014/main" id="{4F2A2823-A820-4F02-82F7-073B7A5A158F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8185819" y="2925738"/>
              <a:ext cx="2520000" cy="2520000"/>
            </a:xfrm>
            <a:prstGeom prst="rect">
              <a:avLst/>
            </a:prstGeom>
          </p:spPr>
        </p:pic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0E640172-4F59-410F-8661-678690A96B41}"/>
                </a:ext>
              </a:extLst>
            </p:cNvPr>
            <p:cNvSpPr txBox="1"/>
            <p:nvPr/>
          </p:nvSpPr>
          <p:spPr>
            <a:xfrm>
              <a:off x="8761743" y="2205658"/>
              <a:ext cx="1368152" cy="504056"/>
            </a:xfrm>
            <a:prstGeom prst="rect">
              <a:avLst/>
            </a:prstGeom>
            <a:noFill/>
          </p:spPr>
          <p:txBody>
            <a:bodyPr wrap="none" lIns="0" tIns="0" rIns="0" bIns="0" rtlCol="0" anchor="t"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400"/>
                </a:spcBef>
              </a:pPr>
              <a:r>
                <a:rPr lang="en-CA" sz="3600" b="1" dirty="0">
                  <a:solidFill>
                    <a:srgbClr val="FF9A00"/>
                  </a:solidFill>
                  <a:latin typeface="Century Gothic" panose="020B0502020202020204" pitchFamily="34" charset="0"/>
                </a:rPr>
                <a:t>Apply</a:t>
              </a:r>
              <a:endParaRPr lang="fr-CA" sz="3600" b="1" dirty="0" err="1">
                <a:solidFill>
                  <a:srgbClr val="FF9A00"/>
                </a:solidFill>
                <a:latin typeface="Century Gothic" panose="020B0502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7722288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4" fill="hold" nodeType="withEffect" p14:presetBounceEnd="40000">
                                      <p:stCondLst>
                                        <p:cond delay="500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40000">
                                          <p:cBhvr additive="base">
                                            <p:cTn id="7" dur="500" fill="hold"/>
                                            <p:tgtEl>
                                              <p:spTgt spid="15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40000">
                                          <p:cBhvr additive="base">
                                            <p:cTn id="8" dur="500" fill="hold"/>
                                            <p:tgtEl>
                                              <p:spTgt spid="15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9" fill="hold">
                                <p:stCondLst>
                                  <p:cond delay="5500"/>
                                </p:stCondLst>
                                <p:childTnLst>
                                  <p:par>
                                    <p:cTn id="10" presetID="2" presetClass="entr" presetSubtype="4" fill="hold" nodeType="afterEffect" p14:presetBounceEnd="40000">
                                      <p:stCondLst>
                                        <p:cond delay="500"/>
                                      </p:stCondLst>
                                      <p:childTnLst>
                                        <p:set>
                                          <p:cBhvr>
                                            <p:cTn id="1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40000">
                                          <p:cBhvr additive="base">
                                            <p:cTn id="12" dur="500" fill="hold"/>
                                            <p:tgtEl>
                                              <p:spTgt spid="16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40000">
                                          <p:cBhvr additive="base">
                                            <p:cTn id="13" dur="500" fill="hold"/>
                                            <p:tgtEl>
                                              <p:spTgt spid="16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14" fill="hold">
                                <p:stCondLst>
                                  <p:cond delay="6500"/>
                                </p:stCondLst>
                                <p:childTnLst>
                                  <p:par>
                                    <p:cTn id="15" presetID="2" presetClass="entr" presetSubtype="4" fill="hold" nodeType="afterEffect" p14:presetBounceEnd="40000">
                                      <p:stCondLst>
                                        <p:cond delay="500"/>
                                      </p:stCondLst>
                                      <p:childTnLst>
                                        <p:set>
                                          <p:cBhvr>
                                            <p:cTn id="1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40000">
                                          <p:cBhvr additive="base">
                                            <p:cTn id="17" dur="500" fill="hold"/>
                                            <p:tgtEl>
                                              <p:spTgt spid="17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40000">
                                          <p:cBhvr additive="base">
                                            <p:cTn id="18" dur="500" fill="hold"/>
                                            <p:tgtEl>
                                              <p:spTgt spid="17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</p:timing>
    </mc:Choice>
    <mc:Fallback xmlns="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4" fill="hold" nodeType="withEffect">
                                      <p:stCondLst>
                                        <p:cond delay="500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7" dur="500" fill="hold"/>
                                            <p:tgtEl>
                                              <p:spTgt spid="15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8" dur="500" fill="hold"/>
                                            <p:tgtEl>
                                              <p:spTgt spid="15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9" fill="hold">
                                <p:stCondLst>
                                  <p:cond delay="5500"/>
                                </p:stCondLst>
                                <p:childTnLst>
                                  <p:par>
                                    <p:cTn id="10" presetID="2" presetClass="entr" presetSubtype="4" fill="hold" nodeType="afterEffect">
                                      <p:stCondLst>
                                        <p:cond delay="500"/>
                                      </p:stCondLst>
                                      <p:childTnLst>
                                        <p:set>
                                          <p:cBhvr>
                                            <p:cTn id="1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2" dur="500" fill="hold"/>
                                            <p:tgtEl>
                                              <p:spTgt spid="16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3" dur="500" fill="hold"/>
                                            <p:tgtEl>
                                              <p:spTgt spid="16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14" fill="hold">
                                <p:stCondLst>
                                  <p:cond delay="6500"/>
                                </p:stCondLst>
                                <p:childTnLst>
                                  <p:par>
                                    <p:cTn id="15" presetID="2" presetClass="entr" presetSubtype="4" fill="hold" nodeType="afterEffect">
                                      <p:stCondLst>
                                        <p:cond delay="500"/>
                                      </p:stCondLst>
                                      <p:childTnLst>
                                        <p:set>
                                          <p:cBhvr>
                                            <p:cTn id="1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7" dur="500" fill="hold"/>
                                            <p:tgtEl>
                                              <p:spTgt spid="17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8" dur="500" fill="hold"/>
                                            <p:tgtEl>
                                              <p:spTgt spid="17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</p:timing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7072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 2">
            <a:extLst>
              <a:ext uri="{FF2B5EF4-FFF2-40B4-BE49-F238E27FC236}">
                <a16:creationId xmlns:a16="http://schemas.microsoft.com/office/drawing/2014/main" id="{F1403ACF-603F-43C2-BD1D-71FA7A6B8CE7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6" y="0"/>
            <a:ext cx="12194823" cy="6859588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7272AD88-8560-4BCE-A8BB-4F42EE994B2E}"/>
              </a:ext>
            </a:extLst>
          </p:cNvPr>
          <p:cNvSpPr/>
          <p:nvPr/>
        </p:nvSpPr>
        <p:spPr bwMode="auto">
          <a:xfrm>
            <a:off x="552972" y="2781722"/>
            <a:ext cx="10657185" cy="1872208"/>
          </a:xfrm>
          <a:prstGeom prst="rect">
            <a:avLst/>
          </a:prstGeom>
          <a:solidFill>
            <a:srgbClr val="07072B"/>
          </a:solidFill>
          <a:ln w="9525">
            <a:noFill/>
            <a:round/>
            <a:headEnd/>
            <a:tailEnd/>
          </a:ln>
        </p:spPr>
        <p:txBody>
          <a:bodyPr wrap="none" lIns="91434" tIns="45717" rIns="91434" bIns="45717" rtlCol="0" anchor="ctr"/>
          <a:lstStyle/>
          <a:p>
            <a:pPr algn="ctr"/>
            <a:endParaRPr lang="fr-CA" dirty="0"/>
          </a:p>
        </p:txBody>
      </p:sp>
      <p:sp>
        <p:nvSpPr>
          <p:cNvPr id="8" name="ZoneTexte 7">
            <a:extLst>
              <a:ext uri="{FF2B5EF4-FFF2-40B4-BE49-F238E27FC236}">
                <a16:creationId xmlns:a16="http://schemas.microsoft.com/office/drawing/2014/main" id="{9A958985-27A5-4DB8-A4E1-74238E368663}"/>
              </a:ext>
            </a:extLst>
          </p:cNvPr>
          <p:cNvSpPr txBox="1"/>
          <p:nvPr/>
        </p:nvSpPr>
        <p:spPr>
          <a:xfrm>
            <a:off x="1489075" y="2781722"/>
            <a:ext cx="8424935" cy="720079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>
              <a:lnSpc>
                <a:spcPct val="90000"/>
              </a:lnSpc>
              <a:spcBef>
                <a:spcPts val="400"/>
              </a:spcBef>
            </a:pPr>
            <a:r>
              <a:rPr lang="fr-CA" sz="5700" b="1" dirty="0">
                <a:solidFill>
                  <a:srgbClr val="B1BFD3"/>
                </a:solidFill>
                <a:latin typeface="Century Gothic" panose="020B0502020202020204" pitchFamily="34" charset="0"/>
              </a:rPr>
              <a:t>Coder son Infrastructure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5FAD179E-7DA5-4B77-A2FF-5D306E5D5946}"/>
              </a:ext>
            </a:extLst>
          </p:cNvPr>
          <p:cNvSpPr/>
          <p:nvPr/>
        </p:nvSpPr>
        <p:spPr>
          <a:xfrm>
            <a:off x="5970790" y="3198168"/>
            <a:ext cx="253596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CA" dirty="0"/>
              <a:t> </a:t>
            </a:r>
          </a:p>
        </p:txBody>
      </p:sp>
      <p:sp>
        <p:nvSpPr>
          <p:cNvPr id="9" name="ZoneTexte 7">
            <a:extLst>
              <a:ext uri="{FF2B5EF4-FFF2-40B4-BE49-F238E27FC236}">
                <a16:creationId xmlns:a16="http://schemas.microsoft.com/office/drawing/2014/main" id="{29C67E76-7393-453D-90C2-B0A2E852DC15}"/>
              </a:ext>
            </a:extLst>
          </p:cNvPr>
          <p:cNvSpPr txBox="1"/>
          <p:nvPr/>
        </p:nvSpPr>
        <p:spPr>
          <a:xfrm>
            <a:off x="5233491" y="3914671"/>
            <a:ext cx="5544617" cy="720080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>
              <a:lnSpc>
                <a:spcPct val="90000"/>
              </a:lnSpc>
              <a:spcBef>
                <a:spcPts val="400"/>
              </a:spcBef>
            </a:pPr>
            <a:r>
              <a:rPr lang="fr-CA" sz="5700" b="1" dirty="0">
                <a:solidFill>
                  <a:srgbClr val="B1BFD3"/>
                </a:solidFill>
                <a:latin typeface="Century Gothic" panose="020B0502020202020204" pitchFamily="34" charset="0"/>
              </a:rPr>
              <a:t> avec Terraform</a:t>
            </a:r>
          </a:p>
        </p:txBody>
      </p:sp>
    </p:spTree>
    <p:extLst>
      <p:ext uri="{BB962C8B-B14F-4D97-AF65-F5344CB8AC3E}">
        <p14:creationId xmlns:p14="http://schemas.microsoft.com/office/powerpoint/2010/main" val="15985162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ce réservé du contenu 5">
            <a:extLst>
              <a:ext uri="{FF2B5EF4-FFF2-40B4-BE49-F238E27FC236}">
                <a16:creationId xmlns:a16="http://schemas.microsoft.com/office/drawing/2014/main" id="{D037EEB5-6036-41AA-855E-326A8E292CAE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4711339" y="2853730"/>
            <a:ext cx="2772495" cy="719485"/>
          </a:xfrm>
        </p:spPr>
        <p:txBody>
          <a:bodyPr/>
          <a:lstStyle/>
          <a:p>
            <a:r>
              <a:rPr lang="fr-CA" dirty="0" err="1"/>
              <a:t>Demo</a:t>
            </a:r>
            <a:endParaRPr lang="fr-CA" dirty="0"/>
          </a:p>
        </p:txBody>
      </p:sp>
    </p:spTree>
    <p:extLst>
      <p:ext uri="{BB962C8B-B14F-4D97-AF65-F5344CB8AC3E}">
        <p14:creationId xmlns:p14="http://schemas.microsoft.com/office/powerpoint/2010/main" val="15234321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F1EAA02-7FDE-4EAD-9A58-D12572A316F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CA" sz="2800" dirty="0"/>
              <a:t>Résumé</a:t>
            </a:r>
            <a:endParaRPr lang="fr-CA" sz="2800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26504DD2-CE40-4B52-AF1A-5866F4D3AC16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655425" y="6454775"/>
            <a:ext cx="539750" cy="334963"/>
          </a:xfrm>
          <a:prstGeom prst="rect">
            <a:avLst/>
          </a:prstGeom>
        </p:spPr>
        <p:txBody>
          <a:bodyPr/>
          <a:lstStyle/>
          <a:p>
            <a:pPr algn="r">
              <a:defRPr/>
            </a:pPr>
            <a:fld id="{BC240EC6-B97B-449A-9055-D713C252FD31}" type="slidenum">
              <a:rPr lang="fr-CA" altLang="fr-FR" smtClean="0"/>
              <a:pPr algn="r">
                <a:defRPr/>
              </a:pPr>
              <a:t>21</a:t>
            </a:fld>
            <a:endParaRPr lang="fr-CA" altLang="fr-FR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96279A4E-BE64-4006-95DC-96FFA59AD64C}"/>
              </a:ext>
            </a:extLst>
          </p:cNvPr>
          <p:cNvSpPr txBox="1"/>
          <p:nvPr/>
        </p:nvSpPr>
        <p:spPr>
          <a:xfrm>
            <a:off x="3865339" y="1719604"/>
            <a:ext cx="8136904" cy="3420380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marL="342900" indent="-342900">
              <a:lnSpc>
                <a:spcPct val="90000"/>
              </a:lnSpc>
              <a:spcBef>
                <a:spcPts val="400"/>
              </a:spcBef>
              <a:buClr>
                <a:srgbClr val="FF9A00"/>
              </a:buClr>
              <a:buSzPct val="125000"/>
              <a:buFont typeface="Arial" panose="020B0604020202020204" pitchFamily="34" charset="0"/>
              <a:buChar char="•"/>
            </a:pPr>
            <a:r>
              <a:rPr lang="fr-CA" dirty="0" err="1">
                <a:solidFill>
                  <a:srgbClr val="07072B"/>
                </a:solidFill>
                <a:latin typeface="Century Gothic" panose="020B0502020202020204" pitchFamily="34" charset="0"/>
              </a:rPr>
              <a:t>Terraform</a:t>
            </a:r>
            <a:r>
              <a:rPr lang="fr-CA" dirty="0">
                <a:solidFill>
                  <a:srgbClr val="07072B"/>
                </a:solidFill>
                <a:latin typeface="Century Gothic" panose="020B0502020202020204" pitchFamily="34" charset="0"/>
              </a:rPr>
              <a:t> en local == </a:t>
            </a:r>
            <a:r>
              <a:rPr lang="fr-CA" dirty="0" err="1">
                <a:solidFill>
                  <a:srgbClr val="07072B"/>
                </a:solidFill>
                <a:latin typeface="Century Gothic" panose="020B0502020202020204" pitchFamily="34" charset="0"/>
              </a:rPr>
              <a:t>Terraform</a:t>
            </a:r>
            <a:r>
              <a:rPr lang="fr-CA" dirty="0">
                <a:solidFill>
                  <a:srgbClr val="07072B"/>
                </a:solidFill>
                <a:latin typeface="Century Gothic" panose="020B0502020202020204" pitchFamily="34" charset="0"/>
              </a:rPr>
              <a:t> en pipeline</a:t>
            </a:r>
          </a:p>
          <a:p>
            <a:pPr marL="342900" indent="-342900">
              <a:lnSpc>
                <a:spcPct val="90000"/>
              </a:lnSpc>
              <a:spcBef>
                <a:spcPts val="400"/>
              </a:spcBef>
              <a:buClr>
                <a:srgbClr val="FF9A00"/>
              </a:buClr>
              <a:buSzPct val="125000"/>
              <a:buFont typeface="Arial" panose="020B0604020202020204" pitchFamily="34" charset="0"/>
              <a:buChar char="•"/>
            </a:pPr>
            <a:endParaRPr lang="fr-CA" dirty="0">
              <a:solidFill>
                <a:srgbClr val="07072B"/>
              </a:solidFill>
              <a:latin typeface="Century Gothic" panose="020B0502020202020204" pitchFamily="34" charset="0"/>
            </a:endParaRPr>
          </a:p>
          <a:p>
            <a:pPr marL="342900" indent="-342900">
              <a:lnSpc>
                <a:spcPct val="90000"/>
              </a:lnSpc>
              <a:spcBef>
                <a:spcPts val="400"/>
              </a:spcBef>
              <a:buClr>
                <a:srgbClr val="FF9A00"/>
              </a:buClr>
              <a:buSzPct val="125000"/>
              <a:buFont typeface="Arial" panose="020B0604020202020204" pitchFamily="34" charset="0"/>
              <a:buChar char="•"/>
            </a:pPr>
            <a:r>
              <a:rPr lang="fr-CA" dirty="0" err="1">
                <a:solidFill>
                  <a:srgbClr val="07072B"/>
                </a:solidFill>
                <a:latin typeface="Century Gothic" panose="020B0502020202020204" pitchFamily="34" charset="0"/>
              </a:rPr>
              <a:t>TF_VAR_EnvironmentVariable</a:t>
            </a:r>
            <a:endParaRPr lang="fr-CA" dirty="0">
              <a:solidFill>
                <a:srgbClr val="07072B"/>
              </a:solidFill>
              <a:latin typeface="Century Gothic" panose="020B0502020202020204" pitchFamily="34" charset="0"/>
            </a:endParaRPr>
          </a:p>
          <a:p>
            <a:pPr marL="342900" indent="-342900">
              <a:lnSpc>
                <a:spcPct val="90000"/>
              </a:lnSpc>
              <a:spcBef>
                <a:spcPts val="400"/>
              </a:spcBef>
              <a:buClr>
                <a:srgbClr val="FF9A00"/>
              </a:buClr>
              <a:buSzPct val="125000"/>
              <a:buFont typeface="Arial" panose="020B0604020202020204" pitchFamily="34" charset="0"/>
              <a:buChar char="•"/>
            </a:pPr>
            <a:endParaRPr lang="fr-CA" dirty="0">
              <a:solidFill>
                <a:srgbClr val="07072B"/>
              </a:solidFill>
              <a:latin typeface="Century Gothic" panose="020B0502020202020204" pitchFamily="34" charset="0"/>
            </a:endParaRPr>
          </a:p>
          <a:p>
            <a:pPr marL="342900" indent="-342900">
              <a:lnSpc>
                <a:spcPct val="90000"/>
              </a:lnSpc>
              <a:spcBef>
                <a:spcPts val="400"/>
              </a:spcBef>
              <a:buClr>
                <a:srgbClr val="FF9A00"/>
              </a:buClr>
              <a:buSzPct val="125000"/>
              <a:buFont typeface="Arial" panose="020B0604020202020204" pitchFamily="34" charset="0"/>
              <a:buChar char="•"/>
            </a:pPr>
            <a:r>
              <a:rPr lang="fr-CA" dirty="0">
                <a:solidFill>
                  <a:srgbClr val="07072B"/>
                </a:solidFill>
                <a:latin typeface="Century Gothic" panose="020B0502020202020204" pitchFamily="34" charset="0"/>
              </a:rPr>
              <a:t>Création d’environnements éphémères</a:t>
            </a:r>
          </a:p>
          <a:p>
            <a:pPr marL="342900" indent="-342900">
              <a:lnSpc>
                <a:spcPct val="90000"/>
              </a:lnSpc>
              <a:spcBef>
                <a:spcPts val="400"/>
              </a:spcBef>
              <a:buClr>
                <a:srgbClr val="FF9A00"/>
              </a:buClr>
              <a:buSzPct val="125000"/>
              <a:buFont typeface="Arial" panose="020B0604020202020204" pitchFamily="34" charset="0"/>
              <a:buChar char="•"/>
            </a:pPr>
            <a:endParaRPr lang="fr-CA" dirty="0">
              <a:solidFill>
                <a:srgbClr val="07072B"/>
              </a:solidFill>
              <a:latin typeface="Century Gothic" panose="020B0502020202020204" pitchFamily="34" charset="0"/>
            </a:endParaRPr>
          </a:p>
          <a:p>
            <a:pPr marL="342900" indent="-342900">
              <a:lnSpc>
                <a:spcPct val="90000"/>
              </a:lnSpc>
              <a:spcBef>
                <a:spcPts val="400"/>
              </a:spcBef>
              <a:buClr>
                <a:srgbClr val="FF9A00"/>
              </a:buClr>
              <a:buSzPct val="125000"/>
              <a:buFont typeface="Arial" panose="020B0604020202020204" pitchFamily="34" charset="0"/>
              <a:buChar char="•"/>
            </a:pPr>
            <a:r>
              <a:rPr lang="fr-CA" dirty="0">
                <a:solidFill>
                  <a:srgbClr val="07072B"/>
                </a:solidFill>
                <a:latin typeface="Century Gothic" panose="020B0502020202020204" pitchFamily="34" charset="0"/>
              </a:rPr>
              <a:t>Destruction rapide et sans trace</a:t>
            </a:r>
          </a:p>
          <a:p>
            <a:pPr marL="342900" indent="-342900">
              <a:lnSpc>
                <a:spcPct val="90000"/>
              </a:lnSpc>
              <a:spcBef>
                <a:spcPts val="400"/>
              </a:spcBef>
              <a:buClr>
                <a:srgbClr val="FF9A00"/>
              </a:buClr>
              <a:buSzPct val="125000"/>
              <a:buFont typeface="Arial" panose="020B0604020202020204" pitchFamily="34" charset="0"/>
              <a:buChar char="•"/>
            </a:pPr>
            <a:endParaRPr lang="fr-CA" dirty="0">
              <a:solidFill>
                <a:srgbClr val="07072B"/>
              </a:solidFill>
              <a:latin typeface="Century Gothic" panose="020B0502020202020204" pitchFamily="34" charset="0"/>
            </a:endParaRPr>
          </a:p>
          <a:p>
            <a:pPr marL="342900" indent="-342900">
              <a:lnSpc>
                <a:spcPct val="90000"/>
              </a:lnSpc>
              <a:spcBef>
                <a:spcPts val="400"/>
              </a:spcBef>
              <a:buClr>
                <a:srgbClr val="FF9A00"/>
              </a:buClr>
              <a:buSzPct val="125000"/>
              <a:buFont typeface="Arial" panose="020B0604020202020204" pitchFamily="34" charset="0"/>
              <a:buChar char="•"/>
            </a:pPr>
            <a:r>
              <a:rPr lang="fr-CA" dirty="0">
                <a:solidFill>
                  <a:srgbClr val="07072B"/>
                </a:solidFill>
                <a:latin typeface="Century Gothic" panose="020B0502020202020204" pitchFamily="34" charset="0"/>
              </a:rPr>
              <a:t>Le découpage permet une grande réutilisation</a:t>
            </a:r>
          </a:p>
          <a:p>
            <a:pPr marL="342900" indent="-342900">
              <a:lnSpc>
                <a:spcPct val="90000"/>
              </a:lnSpc>
              <a:spcBef>
                <a:spcPts val="400"/>
              </a:spcBef>
              <a:buClr>
                <a:srgbClr val="FF9A00"/>
              </a:buClr>
              <a:buSzPct val="125000"/>
              <a:buFont typeface="Arial" panose="020B0604020202020204" pitchFamily="34" charset="0"/>
              <a:buChar char="•"/>
            </a:pPr>
            <a:endParaRPr lang="fr-CA" dirty="0">
              <a:solidFill>
                <a:srgbClr val="07072B"/>
              </a:solidFill>
              <a:latin typeface="Century Gothic" panose="020B0502020202020204" pitchFamily="34" charset="0"/>
            </a:endParaRPr>
          </a:p>
          <a:p>
            <a:pPr marL="342900" indent="-342900">
              <a:lnSpc>
                <a:spcPct val="90000"/>
              </a:lnSpc>
              <a:spcBef>
                <a:spcPts val="400"/>
              </a:spcBef>
              <a:buClr>
                <a:srgbClr val="FF9A00"/>
              </a:buClr>
              <a:buSzPct val="125000"/>
              <a:buFont typeface="Arial" panose="020B0604020202020204" pitchFamily="34" charset="0"/>
              <a:buChar char="•"/>
            </a:pPr>
            <a:endParaRPr lang="fr-CA" dirty="0">
              <a:solidFill>
                <a:srgbClr val="07072B"/>
              </a:solidFill>
              <a:latin typeface="Century Gothic" panose="020B0502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46688106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ce réservé du contenu 5">
            <a:extLst>
              <a:ext uri="{FF2B5EF4-FFF2-40B4-BE49-F238E27FC236}">
                <a16:creationId xmlns:a16="http://schemas.microsoft.com/office/drawing/2014/main" id="{D037EEB5-6036-41AA-855E-326A8E292CAE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3964303" y="3070052"/>
            <a:ext cx="4266568" cy="719485"/>
          </a:xfrm>
        </p:spPr>
        <p:txBody>
          <a:bodyPr/>
          <a:lstStyle/>
          <a:p>
            <a:r>
              <a:rPr lang="fr-CA" dirty="0"/>
              <a:t>Aller plus loin</a:t>
            </a:r>
          </a:p>
        </p:txBody>
      </p:sp>
    </p:spTree>
    <p:extLst>
      <p:ext uri="{BB962C8B-B14F-4D97-AF65-F5344CB8AC3E}">
        <p14:creationId xmlns:p14="http://schemas.microsoft.com/office/powerpoint/2010/main" val="3763891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Click="0" advTm="3000">
        <p:fade/>
      </p:transition>
    </mc:Choice>
    <mc:Fallback xmlns="">
      <p:transition spd="med" advClick="0" advTm="3000">
        <p:fade/>
      </p:transition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838D7FC-FF2D-446F-A8A8-A55FCFF05ED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CA" sz="2800" dirty="0"/>
              <a:t>Get Started Terraform</a:t>
            </a:r>
            <a:endParaRPr lang="fr-CA" sz="2800" dirty="0"/>
          </a:p>
        </p:txBody>
      </p:sp>
      <p:pic>
        <p:nvPicPr>
          <p:cNvPr id="10" name="Content Placeholder 9">
            <a:extLst>
              <a:ext uri="{FF2B5EF4-FFF2-40B4-BE49-F238E27FC236}">
                <a16:creationId xmlns:a16="http://schemas.microsoft.com/office/drawing/2014/main" id="{0D024259-D107-4E82-9728-67145D2D609D}"/>
              </a:ext>
            </a:extLst>
          </p:cNvPr>
          <p:cNvPicPr>
            <a:picLocks noGrp="1" noChangeAspect="1"/>
          </p:cNvPicPr>
          <p:nvPr>
            <p:ph sz="quarter" idx="18"/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924963" y="2421682"/>
            <a:ext cx="2520000" cy="2520000"/>
          </a:xfrm>
        </p:spPr>
      </p:pic>
      <p:pic>
        <p:nvPicPr>
          <p:cNvPr id="12" name="Graphic 11">
            <a:extLst>
              <a:ext uri="{FF2B5EF4-FFF2-40B4-BE49-F238E27FC236}">
                <a16:creationId xmlns:a16="http://schemas.microsoft.com/office/drawing/2014/main" id="{1C27CC35-7929-4C56-8FEF-6E8478AAFDB8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160052" y="2421682"/>
            <a:ext cx="2520000" cy="2520000"/>
          </a:xfrm>
          <a:prstGeom prst="rect">
            <a:avLst/>
          </a:prstGeom>
        </p:spPr>
      </p:pic>
      <p:pic>
        <p:nvPicPr>
          <p:cNvPr id="14" name="Graphic 13">
            <a:extLst>
              <a:ext uri="{FF2B5EF4-FFF2-40B4-BE49-F238E27FC236}">
                <a16:creationId xmlns:a16="http://schemas.microsoft.com/office/drawing/2014/main" id="{540D2672-EBDB-43EC-A711-84C0EB4BB15C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8689875" y="2421682"/>
            <a:ext cx="2520000" cy="2520000"/>
          </a:xfrm>
          <a:prstGeom prst="rect">
            <a:avLst/>
          </a:prstGeom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F799A530-2387-4C26-B019-45D17BFDCFD1}"/>
              </a:ext>
            </a:extLst>
          </p:cNvPr>
          <p:cNvSpPr txBox="1"/>
          <p:nvPr/>
        </p:nvSpPr>
        <p:spPr>
          <a:xfrm>
            <a:off x="3049587" y="5302002"/>
            <a:ext cx="6096000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fr-CA" dirty="0">
                <a:solidFill>
                  <a:srgbClr val="9B9B9B"/>
                </a:solidFill>
                <a:latin typeface="Century Gothic" panose="020B0502020202020204" pitchFamily="34" charset="0"/>
                <a:hlinkClick r:id="rId9"/>
              </a:rPr>
              <a:t>learn.hashicorp.com/</a:t>
            </a:r>
            <a:r>
              <a:rPr lang="fr-CA" dirty="0" err="1">
                <a:solidFill>
                  <a:srgbClr val="9B9B9B"/>
                </a:solidFill>
                <a:latin typeface="Century Gothic" panose="020B0502020202020204" pitchFamily="34" charset="0"/>
                <a:hlinkClick r:id="rId9"/>
              </a:rPr>
              <a:t>terraform</a:t>
            </a:r>
            <a:endParaRPr lang="fr-CA" dirty="0">
              <a:solidFill>
                <a:srgbClr val="9B9B9B"/>
              </a:solidFill>
              <a:latin typeface="Century Gothic" panose="020B0502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25764790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ACAAC3AE-4CA6-49D5-BD59-8FDE6290ECD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algn="r">
              <a:defRPr/>
            </a:pPr>
            <a:fld id="{BC240EC6-B97B-449A-9055-D713C252FD31}" type="slidenum">
              <a:rPr lang="fr-CA" altLang="fr-FR" smtClean="0"/>
              <a:pPr algn="r">
                <a:defRPr/>
              </a:pPr>
              <a:t>24</a:t>
            </a:fld>
            <a:endParaRPr lang="fr-CA" altLang="fr-FR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632B0ED-7BE9-4700-B795-4A2308012C0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CA" sz="2800" dirty="0"/>
              <a:t>Documentation</a:t>
            </a:r>
            <a:endParaRPr lang="fr-CA" sz="2800" dirty="0"/>
          </a:p>
        </p:txBody>
      </p:sp>
      <p:grpSp>
        <p:nvGrpSpPr>
          <p:cNvPr id="856" name="Group 855">
            <a:extLst>
              <a:ext uri="{FF2B5EF4-FFF2-40B4-BE49-F238E27FC236}">
                <a16:creationId xmlns:a16="http://schemas.microsoft.com/office/drawing/2014/main" id="{18FA5256-0019-490F-BFB3-26ECAECD6819}"/>
              </a:ext>
            </a:extLst>
          </p:cNvPr>
          <p:cNvGrpSpPr/>
          <p:nvPr/>
        </p:nvGrpSpPr>
        <p:grpSpPr>
          <a:xfrm>
            <a:off x="1417347" y="2499534"/>
            <a:ext cx="2520000" cy="2786701"/>
            <a:chOff x="1027797" y="1579197"/>
            <a:chExt cx="2520000" cy="2786701"/>
          </a:xfrm>
        </p:grpSpPr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35DC8E1D-1161-474F-A42B-09A3824D9183}"/>
                </a:ext>
              </a:extLst>
            </p:cNvPr>
            <p:cNvSpPr txBox="1"/>
            <p:nvPr/>
          </p:nvSpPr>
          <p:spPr>
            <a:xfrm>
              <a:off x="1423701" y="4091135"/>
              <a:ext cx="1728193" cy="274763"/>
            </a:xfrm>
            <a:prstGeom prst="rect">
              <a:avLst/>
            </a:prstGeom>
            <a:noFill/>
          </p:spPr>
          <p:txBody>
            <a:bodyPr wrap="none" lIns="0" tIns="0" rIns="0" bIns="0" rtlCol="0" anchor="t">
              <a:noAutofit/>
            </a:bodyPr>
            <a:lstStyle/>
            <a:p>
              <a:pPr>
                <a:lnSpc>
                  <a:spcPct val="90000"/>
                </a:lnSpc>
                <a:spcBef>
                  <a:spcPts val="400"/>
                </a:spcBef>
              </a:pPr>
              <a:r>
                <a:rPr lang="en-CA" sz="1600" dirty="0">
                  <a:solidFill>
                    <a:srgbClr val="9B9B9B"/>
                  </a:solidFill>
                  <a:latin typeface="Century Gothic" panose="020B0502020202020204" pitchFamily="34" charset="0"/>
                  <a:hlinkClick r:id="rId3"/>
                </a:rPr>
                <a:t>Terraform Registry</a:t>
              </a:r>
              <a:endParaRPr lang="fr-CA" sz="1600" dirty="0" err="1">
                <a:solidFill>
                  <a:srgbClr val="9B9B9B"/>
                </a:solidFill>
                <a:latin typeface="Century Gothic" panose="020B0502020202020204" pitchFamily="34" charset="0"/>
              </a:endParaRPr>
            </a:p>
          </p:txBody>
        </p:sp>
        <p:pic>
          <p:nvPicPr>
            <p:cNvPr id="855" name="Graphic 854">
              <a:extLst>
                <a:ext uri="{FF2B5EF4-FFF2-40B4-BE49-F238E27FC236}">
                  <a16:creationId xmlns:a16="http://schemas.microsoft.com/office/drawing/2014/main" id="{B1F76C37-295B-4DD8-8E3D-9A38EF17B35D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1027797" y="1579197"/>
              <a:ext cx="2520000" cy="2520000"/>
            </a:xfrm>
            <a:prstGeom prst="rect">
              <a:avLst/>
            </a:prstGeom>
          </p:spPr>
        </p:pic>
      </p:grpSp>
      <p:pic>
        <p:nvPicPr>
          <p:cNvPr id="858" name="Picture 857" descr="Graphical user interface, text, application, email&#10;&#10;Description automatically generated">
            <a:extLst>
              <a:ext uri="{FF2B5EF4-FFF2-40B4-BE49-F238E27FC236}">
                <a16:creationId xmlns:a16="http://schemas.microsoft.com/office/drawing/2014/main" id="{80E8D9DB-9821-4E11-8063-D0A0B990C299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39309" y="1349895"/>
            <a:ext cx="4084907" cy="5085978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2136510916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ce réservé du contenu 5">
            <a:extLst>
              <a:ext uri="{FF2B5EF4-FFF2-40B4-BE49-F238E27FC236}">
                <a16:creationId xmlns:a16="http://schemas.microsoft.com/office/drawing/2014/main" id="{D037EEB5-6036-41AA-855E-326A8E292CAE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4540367" y="3070052"/>
            <a:ext cx="3114440" cy="719485"/>
          </a:xfrm>
        </p:spPr>
        <p:txBody>
          <a:bodyPr/>
          <a:lstStyle/>
          <a:p>
            <a:r>
              <a:rPr lang="fr-CA" dirty="0"/>
              <a:t>Questions ?</a:t>
            </a:r>
          </a:p>
        </p:txBody>
      </p:sp>
    </p:spTree>
    <p:extLst>
      <p:ext uri="{BB962C8B-B14F-4D97-AF65-F5344CB8AC3E}">
        <p14:creationId xmlns:p14="http://schemas.microsoft.com/office/powerpoint/2010/main" val="11022150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space réservé du contenu 11">
            <a:extLst>
              <a:ext uri="{FF2B5EF4-FFF2-40B4-BE49-F238E27FC236}">
                <a16:creationId xmlns:a16="http://schemas.microsoft.com/office/drawing/2014/main" id="{35546CE4-7080-4648-828C-114A8D4232A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353171" y="1777439"/>
            <a:ext cx="7488832" cy="523220"/>
          </a:xfrm>
        </p:spPr>
        <p:txBody>
          <a:bodyPr anchor="ctr"/>
          <a:lstStyle>
            <a:defPPr>
              <a:defRPr lang="fr-FR"/>
            </a:defPPr>
            <a:lvl1pPr algn="l" defTabSz="1758115" rtl="0" eaLnBrk="0" fontAlgn="base" hangingPunct="0">
              <a:spcBef>
                <a:spcPct val="0"/>
              </a:spcBef>
              <a:spcAft>
                <a:spcPct val="0"/>
              </a:spcAft>
              <a:defRPr sz="3466"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1pPr>
            <a:lvl2pPr marL="877912" indent="-217760" algn="l" defTabSz="1758115" rtl="0" eaLnBrk="0" fontAlgn="base" hangingPunct="0">
              <a:spcBef>
                <a:spcPct val="0"/>
              </a:spcBef>
              <a:spcAft>
                <a:spcPct val="0"/>
              </a:spcAft>
              <a:defRPr sz="3466"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2pPr>
            <a:lvl3pPr marL="1758115" indent="-437811" algn="l" defTabSz="1758115" rtl="0" eaLnBrk="0" fontAlgn="base" hangingPunct="0">
              <a:spcBef>
                <a:spcPct val="0"/>
              </a:spcBef>
              <a:spcAft>
                <a:spcPct val="0"/>
              </a:spcAft>
              <a:defRPr sz="3466"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3pPr>
            <a:lvl4pPr marL="2638319" indent="-657862" algn="l" defTabSz="1758115" rtl="0" eaLnBrk="0" fontAlgn="base" hangingPunct="0">
              <a:spcBef>
                <a:spcPct val="0"/>
              </a:spcBef>
              <a:spcAft>
                <a:spcPct val="0"/>
              </a:spcAft>
              <a:defRPr sz="3466"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4pPr>
            <a:lvl5pPr marL="3518523" indent="-877912" algn="l" defTabSz="1758115" rtl="0" eaLnBrk="0" fontAlgn="base" hangingPunct="0">
              <a:spcBef>
                <a:spcPct val="0"/>
              </a:spcBef>
              <a:spcAft>
                <a:spcPct val="0"/>
              </a:spcAft>
              <a:defRPr sz="3466"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5pPr>
            <a:lvl6pPr marL="3300765" algn="l" defTabSz="1320306" rtl="0" eaLnBrk="1" latinLnBrk="0" hangingPunct="1">
              <a:defRPr sz="3466"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6pPr>
            <a:lvl7pPr marL="3960915" algn="l" defTabSz="1320306" rtl="0" eaLnBrk="1" latinLnBrk="0" hangingPunct="1">
              <a:defRPr sz="3466"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7pPr>
            <a:lvl8pPr marL="4621070" algn="l" defTabSz="1320306" rtl="0" eaLnBrk="1" latinLnBrk="0" hangingPunct="1">
              <a:defRPr sz="3466"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8pPr>
            <a:lvl9pPr marL="5281221" algn="l" defTabSz="1320306" rtl="0" eaLnBrk="1" latinLnBrk="0" hangingPunct="1">
              <a:defRPr sz="3466"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9pPr>
          </a:lstStyle>
          <a:p>
            <a:pPr algn="ctr"/>
            <a:r>
              <a:rPr lang="fr-CA" sz="3600" dirty="0">
                <a:solidFill>
                  <a:schemeClr val="bg1"/>
                </a:solidFill>
                <a:latin typeface="Century Gothic" panose="020B0502020202020204" pitchFamily="34" charset="0"/>
              </a:rPr>
              <a:t>Merci!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D6DF0F0B-1F06-407F-8B1A-06446442B6F1}"/>
              </a:ext>
            </a:extLst>
          </p:cNvPr>
          <p:cNvGrpSpPr/>
          <p:nvPr/>
        </p:nvGrpSpPr>
        <p:grpSpPr>
          <a:xfrm>
            <a:off x="1356116" y="3429794"/>
            <a:ext cx="9482942" cy="1860331"/>
            <a:chOff x="2256860" y="2301767"/>
            <a:chExt cx="9482942" cy="1860331"/>
          </a:xfrm>
        </p:grpSpPr>
        <p:grpSp>
          <p:nvGrpSpPr>
            <p:cNvPr id="3" name="Group 2">
              <a:extLst>
                <a:ext uri="{FF2B5EF4-FFF2-40B4-BE49-F238E27FC236}">
                  <a16:creationId xmlns:a16="http://schemas.microsoft.com/office/drawing/2014/main" id="{4105F3D2-D4F3-4A35-ACCA-6670E55C81FF}"/>
                </a:ext>
              </a:extLst>
            </p:cNvPr>
            <p:cNvGrpSpPr/>
            <p:nvPr/>
          </p:nvGrpSpPr>
          <p:grpSpPr>
            <a:xfrm>
              <a:off x="2256860" y="2301767"/>
              <a:ext cx="1828800" cy="1860331"/>
              <a:chOff x="5570483" y="1397876"/>
              <a:chExt cx="1828800" cy="1860331"/>
            </a:xfrm>
          </p:grpSpPr>
          <p:pic>
            <p:nvPicPr>
              <p:cNvPr id="4" name="Picture 3">
                <a:extLst>
                  <a:ext uri="{FF2B5EF4-FFF2-40B4-BE49-F238E27FC236}">
                    <a16:creationId xmlns:a16="http://schemas.microsoft.com/office/drawing/2014/main" id="{677C5718-911A-4F96-9F26-B2CC4D9329C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/>
              <a:stretch>
                <a:fillRect/>
              </a:stretch>
            </p:blipFill>
            <p:spPr>
              <a:xfrm>
                <a:off x="5783451" y="1618593"/>
                <a:ext cx="1402864" cy="1103586"/>
              </a:xfrm>
              <a:prstGeom prst="rect">
                <a:avLst/>
              </a:prstGeom>
            </p:spPr>
          </p:pic>
          <p:sp>
            <p:nvSpPr>
              <p:cNvPr id="5" name="Oval 4">
                <a:extLst>
                  <a:ext uri="{FF2B5EF4-FFF2-40B4-BE49-F238E27FC236}">
                    <a16:creationId xmlns:a16="http://schemas.microsoft.com/office/drawing/2014/main" id="{DCAF48E2-E0B8-4D8E-A6F9-0E13F3AF83C5}"/>
                  </a:ext>
                </a:extLst>
              </p:cNvPr>
              <p:cNvSpPr/>
              <p:nvPr/>
            </p:nvSpPr>
            <p:spPr>
              <a:xfrm>
                <a:off x="5570483" y="1397876"/>
                <a:ext cx="1828800" cy="1860331"/>
              </a:xfrm>
              <a:prstGeom prst="ellipse">
                <a:avLst/>
              </a:prstGeom>
              <a:noFill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D2A7A2D5-8AFE-474C-9B4A-0FCF848AECD7}"/>
                </a:ext>
              </a:extLst>
            </p:cNvPr>
            <p:cNvSpPr txBox="1"/>
            <p:nvPr/>
          </p:nvSpPr>
          <p:spPr>
            <a:xfrm>
              <a:off x="4116765" y="2791646"/>
              <a:ext cx="6981398" cy="52322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2800" dirty="0" err="1">
                  <a:solidFill>
                    <a:schemeClr val="bg1"/>
                  </a:solidFill>
                  <a:latin typeface="Century Gothic" panose="020B0502020202020204" pitchFamily="34" charset="0"/>
                </a:rPr>
                <a:t>Communauté</a:t>
              </a:r>
              <a:r>
                <a:rPr lang="en-US" sz="2800" dirty="0">
                  <a:solidFill>
                    <a:schemeClr val="bg1"/>
                  </a:solidFill>
                  <a:latin typeface="Century Gothic" panose="020B0502020202020204" pitchFamily="34" charset="0"/>
                </a:rPr>
                <a:t> Microsoft Azure Québec</a:t>
              </a:r>
            </a:p>
          </p:txBody>
        </p:sp>
        <p:grpSp>
          <p:nvGrpSpPr>
            <p:cNvPr id="7" name="Group 6">
              <a:extLst>
                <a:ext uri="{FF2B5EF4-FFF2-40B4-BE49-F238E27FC236}">
                  <a16:creationId xmlns:a16="http://schemas.microsoft.com/office/drawing/2014/main" id="{AB0271DF-F064-40A7-8223-FF60CFB774BE}"/>
                </a:ext>
              </a:extLst>
            </p:cNvPr>
            <p:cNvGrpSpPr/>
            <p:nvPr/>
          </p:nvGrpSpPr>
          <p:grpSpPr>
            <a:xfrm>
              <a:off x="4298628" y="3429794"/>
              <a:ext cx="7441174" cy="553946"/>
              <a:chOff x="4189324" y="3355113"/>
              <a:chExt cx="7441174" cy="553946"/>
            </a:xfrm>
          </p:grpSpPr>
          <p:sp>
            <p:nvSpPr>
              <p:cNvPr id="8" name="TextBox 7">
                <a:extLst>
                  <a:ext uri="{FF2B5EF4-FFF2-40B4-BE49-F238E27FC236}">
                    <a16:creationId xmlns:a16="http://schemas.microsoft.com/office/drawing/2014/main" id="{F6419AF3-D4D0-4A6A-B2E6-945AA3ABF811}"/>
                  </a:ext>
                </a:extLst>
              </p:cNvPr>
              <p:cNvSpPr txBox="1"/>
              <p:nvPr/>
            </p:nvSpPr>
            <p:spPr>
              <a:xfrm>
                <a:off x="4393324" y="3447394"/>
                <a:ext cx="7237174" cy="461665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dirty="0"/>
                  <a:t>     </a:t>
                </a:r>
                <a:r>
                  <a:rPr lang="en-US" dirty="0">
                    <a:solidFill>
                      <a:schemeClr val="bg1"/>
                    </a:solidFill>
                  </a:rPr>
                  <a:t>@</a:t>
                </a:r>
                <a:r>
                  <a:rPr lang="en-US" dirty="0" err="1">
                    <a:solidFill>
                      <a:schemeClr val="bg1"/>
                    </a:solidFill>
                  </a:rPr>
                  <a:t>AzureQuebec</a:t>
                </a:r>
                <a:r>
                  <a:rPr lang="en-US" dirty="0">
                    <a:solidFill>
                      <a:schemeClr val="bg1"/>
                    </a:solidFill>
                  </a:rPr>
                  <a:t> </a:t>
                </a:r>
                <a:r>
                  <a:rPr lang="en-US" dirty="0"/>
                  <a:t>|            </a:t>
                </a:r>
                <a:r>
                  <a:rPr lang="en-US" dirty="0">
                    <a:solidFill>
                      <a:srgbClr val="9B9B9B"/>
                    </a:solidFill>
                    <a:hlinkClick r:id="rId3">
                      <a:extLst>
                        <a:ext uri="{A12FA001-AC4F-418D-AE19-62706E023703}">
                          <ahyp:hlinkClr xmlns:ahyp="http://schemas.microsoft.com/office/drawing/2018/hyperlinkcolor" val="tx"/>
                        </a:ext>
                      </a:extLst>
                    </a:hlinkClick>
                  </a:rPr>
                  <a:t>https://meetup.com/azureqc</a:t>
                </a:r>
                <a:r>
                  <a:rPr lang="en-US" dirty="0">
                    <a:solidFill>
                      <a:srgbClr val="9B9B9B"/>
                    </a:solidFill>
                  </a:rPr>
                  <a:t> </a:t>
                </a:r>
              </a:p>
            </p:txBody>
          </p:sp>
          <p:pic>
            <p:nvPicPr>
              <p:cNvPr id="9" name="Picture 8">
                <a:extLst>
                  <a:ext uri="{FF2B5EF4-FFF2-40B4-BE49-F238E27FC236}">
                    <a16:creationId xmlns:a16="http://schemas.microsoft.com/office/drawing/2014/main" id="{AB9425D7-5885-4D80-B0E2-7D6EDF7ADE4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6993577" y="3355113"/>
                <a:ext cx="578882" cy="553894"/>
              </a:xfrm>
              <a:prstGeom prst="rect">
                <a:avLst/>
              </a:prstGeom>
            </p:spPr>
          </p:pic>
          <p:pic>
            <p:nvPicPr>
              <p:cNvPr id="10" name="Picture 9">
                <a:extLst>
                  <a:ext uri="{FF2B5EF4-FFF2-40B4-BE49-F238E27FC236}">
                    <a16:creationId xmlns:a16="http://schemas.microsoft.com/office/drawing/2014/main" id="{43EC2485-57C2-4B31-AFEC-AE0806B1E85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4189324" y="3366017"/>
                <a:ext cx="532086" cy="532086"/>
              </a:xfrm>
              <a:prstGeom prst="rect">
                <a:avLst/>
              </a:prstGeom>
            </p:spPr>
          </p:pic>
        </p:grpSp>
      </p:grpSp>
    </p:spTree>
    <p:extLst>
      <p:ext uri="{BB962C8B-B14F-4D97-AF65-F5344CB8AC3E}">
        <p14:creationId xmlns:p14="http://schemas.microsoft.com/office/powerpoint/2010/main" val="4888358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numéro de diapositive 2" hidden="1">
            <a:extLst>
              <a:ext uri="{FF2B5EF4-FFF2-40B4-BE49-F238E27FC236}">
                <a16:creationId xmlns:a16="http://schemas.microsoft.com/office/drawing/2014/main" id="{3293F09B-F23F-4213-B498-605EC61EB62D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prstGeom prst="rect">
            <a:avLst/>
          </a:prstGeom>
        </p:spPr>
        <p:txBody>
          <a:bodyPr/>
          <a:lstStyle/>
          <a:p>
            <a:pPr marL="0" marR="0" lvl="0" indent="0" algn="r" defTabSz="1217531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fld id="{89AA4CF2-98ED-4480-867D-4533B78D23B5}" type="slidenum">
              <a:rPr kumimoji="0" lang="fr-CA" altLang="fr-FR" sz="800" b="0" i="0" u="none" strike="noStrike" kern="1200" cap="none" spc="0" normalizeH="0" baseline="0" noProof="0" smtClean="0">
                <a:ln>
                  <a:noFill/>
                </a:ln>
                <a:solidFill>
                  <a:srgbClr val="222644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pPr marL="0" marR="0" lvl="0" indent="0" algn="r" defTabSz="1217531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fr-CA" altLang="fr-FR" sz="800" b="0" i="0" u="none" strike="noStrike" kern="1200" cap="none" spc="0" normalizeH="0" baseline="0" noProof="0">
              <a:ln>
                <a:noFill/>
              </a:ln>
              <a:solidFill>
                <a:srgbClr val="222644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065C074-C545-42B7-8049-2A571A05E4B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CA" sz="2800" dirty="0"/>
              <a:t>Qui </a:t>
            </a:r>
            <a:r>
              <a:rPr lang="en-CA" sz="2800" dirty="0" err="1"/>
              <a:t>suis</a:t>
            </a:r>
            <a:r>
              <a:rPr lang="en-CA" sz="2800" dirty="0"/>
              <a:t>-je ?</a:t>
            </a:r>
          </a:p>
        </p:txBody>
      </p:sp>
      <p:sp>
        <p:nvSpPr>
          <p:cNvPr id="11" name="ZoneTexte 10">
            <a:extLst>
              <a:ext uri="{FF2B5EF4-FFF2-40B4-BE49-F238E27FC236}">
                <a16:creationId xmlns:a16="http://schemas.microsoft.com/office/drawing/2014/main" id="{5E24FC73-BA36-4BCC-9D7D-B291DC6413B0}"/>
              </a:ext>
            </a:extLst>
          </p:cNvPr>
          <p:cNvSpPr txBox="1"/>
          <p:nvPr/>
        </p:nvSpPr>
        <p:spPr>
          <a:xfrm>
            <a:off x="5638800" y="2971800"/>
            <a:ext cx="914400" cy="914400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>
              <a:lnSpc>
                <a:spcPct val="90000"/>
              </a:lnSpc>
              <a:spcBef>
                <a:spcPts val="400"/>
              </a:spcBef>
            </a:pPr>
            <a:endParaRPr lang="fr-CA" dirty="0" err="1">
              <a:solidFill>
                <a:srgbClr val="32323C"/>
              </a:solidFill>
            </a:endParaRP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0DA3CEDA-C7F1-48E2-95FD-1C4462E6C965}"/>
              </a:ext>
            </a:extLst>
          </p:cNvPr>
          <p:cNvGrpSpPr/>
          <p:nvPr/>
        </p:nvGrpSpPr>
        <p:grpSpPr>
          <a:xfrm>
            <a:off x="913011" y="5950074"/>
            <a:ext cx="1549751" cy="291622"/>
            <a:chOff x="803420" y="5870204"/>
            <a:chExt cx="1549751" cy="291622"/>
          </a:xfrm>
        </p:grpSpPr>
        <p:pic>
          <p:nvPicPr>
            <p:cNvPr id="10" name="Graphique 9">
              <a:extLst>
                <a:ext uri="{FF2B5EF4-FFF2-40B4-BE49-F238E27FC236}">
                  <a16:creationId xmlns:a16="http://schemas.microsoft.com/office/drawing/2014/main" id="{0550B1EC-739A-46FA-A114-3A6D504779A8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803420" y="5870204"/>
              <a:ext cx="432000" cy="291622"/>
            </a:xfrm>
            <a:prstGeom prst="rect">
              <a:avLst/>
            </a:prstGeom>
          </p:spPr>
        </p:pic>
        <p:sp>
          <p:nvSpPr>
            <p:cNvPr id="12" name="ZoneTexte 11">
              <a:extLst>
                <a:ext uri="{FF2B5EF4-FFF2-40B4-BE49-F238E27FC236}">
                  <a16:creationId xmlns:a16="http://schemas.microsoft.com/office/drawing/2014/main" id="{563828B4-1ECC-40A3-87B8-80678C90DA77}"/>
                </a:ext>
              </a:extLst>
            </p:cNvPr>
            <p:cNvSpPr txBox="1"/>
            <p:nvPr/>
          </p:nvSpPr>
          <p:spPr>
            <a:xfrm>
              <a:off x="1345059" y="5906612"/>
              <a:ext cx="1008112" cy="218805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noAutofit/>
            </a:bodyPr>
            <a:lstStyle/>
            <a:p>
              <a:pPr>
                <a:lnSpc>
                  <a:spcPct val="90000"/>
                </a:lnSpc>
                <a:spcBef>
                  <a:spcPts val="400"/>
                </a:spcBef>
              </a:pPr>
              <a:r>
                <a:rPr lang="en-US" sz="1600" dirty="0">
                  <a:solidFill>
                    <a:srgbClr val="9B9B9B"/>
                  </a:solidFill>
                  <a:latin typeface="Century Gothic" panose="020B0502020202020204" pitchFamily="34" charset="0"/>
                  <a:hlinkClick r:id="rId5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@invvard</a:t>
              </a:r>
              <a:endParaRPr lang="en-US" sz="1600" dirty="0">
                <a:solidFill>
                  <a:srgbClr val="9B9B9B"/>
                </a:solidFill>
                <a:latin typeface="Century Gothic" panose="020B0502020202020204" pitchFamily="34" charset="0"/>
              </a:endParaRPr>
            </a:p>
          </p:txBody>
        </p:sp>
      </p:grpSp>
      <p:grpSp>
        <p:nvGrpSpPr>
          <p:cNvPr id="6" name="Group 5">
            <a:extLst>
              <a:ext uri="{FF2B5EF4-FFF2-40B4-BE49-F238E27FC236}">
                <a16:creationId xmlns:a16="http://schemas.microsoft.com/office/drawing/2014/main" id="{2B74E2A1-FF95-4CB7-A2DE-DC485875B34A}"/>
              </a:ext>
            </a:extLst>
          </p:cNvPr>
          <p:cNvGrpSpPr/>
          <p:nvPr/>
        </p:nvGrpSpPr>
        <p:grpSpPr>
          <a:xfrm>
            <a:off x="913011" y="5326732"/>
            <a:ext cx="4579939" cy="437518"/>
            <a:chOff x="827110" y="5204718"/>
            <a:chExt cx="4579939" cy="437518"/>
          </a:xfrm>
        </p:grpSpPr>
        <p:pic>
          <p:nvPicPr>
            <p:cNvPr id="8" name="Graphique 7">
              <a:extLst>
                <a:ext uri="{FF2B5EF4-FFF2-40B4-BE49-F238E27FC236}">
                  <a16:creationId xmlns:a16="http://schemas.microsoft.com/office/drawing/2014/main" id="{EF6854E9-E3C6-44B7-A87D-8070E56750E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rcRect l="73854"/>
            <a:stretch/>
          </p:blipFill>
          <p:spPr>
            <a:xfrm>
              <a:off x="827110" y="5204718"/>
              <a:ext cx="432000" cy="437518"/>
            </a:xfrm>
            <a:prstGeom prst="rect">
              <a:avLst/>
            </a:prstGeom>
          </p:spPr>
        </p:pic>
        <p:sp>
          <p:nvSpPr>
            <p:cNvPr id="14" name="ZoneTexte 13">
              <a:extLst>
                <a:ext uri="{FF2B5EF4-FFF2-40B4-BE49-F238E27FC236}">
                  <a16:creationId xmlns:a16="http://schemas.microsoft.com/office/drawing/2014/main" id="{F2812A1F-F3EB-4D42-A2A3-3B350B070FDB}"/>
                </a:ext>
              </a:extLst>
            </p:cNvPr>
            <p:cNvSpPr txBox="1"/>
            <p:nvPr/>
          </p:nvSpPr>
          <p:spPr>
            <a:xfrm>
              <a:off x="1345059" y="5354204"/>
              <a:ext cx="4061990" cy="288032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noAutofit/>
            </a:bodyPr>
            <a:lstStyle/>
            <a:p>
              <a:pPr>
                <a:lnSpc>
                  <a:spcPct val="90000"/>
                </a:lnSpc>
                <a:spcBef>
                  <a:spcPts val="400"/>
                </a:spcBef>
              </a:pPr>
              <a:r>
                <a:rPr lang="en-US" sz="1600" dirty="0">
                  <a:solidFill>
                    <a:srgbClr val="9B9B9B"/>
                  </a:solidFill>
                  <a:latin typeface="Century Gothic" panose="020B0502020202020204" pitchFamily="34" charset="0"/>
                  <a:hlinkClick r:id="rId8"/>
                </a:rPr>
                <a:t>ca.linkedin.com/in/</a:t>
              </a:r>
              <a:r>
                <a:rPr lang="en-US" sz="1600" dirty="0" err="1">
                  <a:solidFill>
                    <a:srgbClr val="9B9B9B"/>
                  </a:solidFill>
                  <a:latin typeface="Century Gothic" panose="020B0502020202020204" pitchFamily="34" charset="0"/>
                  <a:hlinkClick r:id="rId8"/>
                </a:rPr>
                <a:t>pierrecavaroc</a:t>
              </a:r>
              <a:endParaRPr lang="en-US" sz="1600" dirty="0">
                <a:solidFill>
                  <a:srgbClr val="9B9B9B"/>
                </a:solidFill>
                <a:latin typeface="Century Gothic" panose="020B0502020202020204" pitchFamily="34" charset="0"/>
              </a:endParaRPr>
            </a:p>
            <a:p>
              <a:pPr>
                <a:lnSpc>
                  <a:spcPct val="90000"/>
                </a:lnSpc>
                <a:spcBef>
                  <a:spcPts val="400"/>
                </a:spcBef>
              </a:pPr>
              <a:endParaRPr lang="fr-CA" dirty="0" err="1">
                <a:solidFill>
                  <a:srgbClr val="32323C"/>
                </a:solidFill>
              </a:endParaRPr>
            </a:p>
          </p:txBody>
        </p:sp>
      </p:grpSp>
      <p:sp>
        <p:nvSpPr>
          <p:cNvPr id="18" name="ZoneTexte 17">
            <a:extLst>
              <a:ext uri="{FF2B5EF4-FFF2-40B4-BE49-F238E27FC236}">
                <a16:creationId xmlns:a16="http://schemas.microsoft.com/office/drawing/2014/main" id="{3916CDD4-4273-4219-9D25-6377AC801932}"/>
              </a:ext>
            </a:extLst>
          </p:cNvPr>
          <p:cNvSpPr txBox="1"/>
          <p:nvPr/>
        </p:nvSpPr>
        <p:spPr>
          <a:xfrm>
            <a:off x="913011" y="1532856"/>
            <a:ext cx="4725789" cy="2592288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r>
              <a:rPr lang="en-US" dirty="0">
                <a:solidFill>
                  <a:srgbClr val="07072B"/>
                </a:solidFill>
                <a:latin typeface="Century Gothic" panose="020B0502020202020204" pitchFamily="34" charset="0"/>
              </a:rPr>
              <a:t>Pierre CAVAROC</a:t>
            </a:r>
          </a:p>
          <a:p>
            <a:endParaRPr lang="en-US" dirty="0">
              <a:solidFill>
                <a:srgbClr val="07072B"/>
              </a:solidFill>
              <a:latin typeface="Century Gothic" panose="020B0502020202020204" pitchFamily="34" charset="0"/>
            </a:endParaRPr>
          </a:p>
          <a:p>
            <a:endParaRPr lang="en-US" dirty="0">
              <a:solidFill>
                <a:srgbClr val="07072B"/>
              </a:solidFill>
              <a:latin typeface="Century Gothic" panose="020B0502020202020204" pitchFamily="34" charset="0"/>
            </a:endParaRPr>
          </a:p>
          <a:p>
            <a:r>
              <a:rPr lang="en-US" dirty="0" err="1">
                <a:solidFill>
                  <a:srgbClr val="07072B"/>
                </a:solidFill>
                <a:latin typeface="Century Gothic" panose="020B0502020202020204" pitchFamily="34" charset="0"/>
              </a:rPr>
              <a:t>Développeur</a:t>
            </a:r>
            <a:r>
              <a:rPr lang="en-US" dirty="0">
                <a:solidFill>
                  <a:srgbClr val="07072B"/>
                </a:solidFill>
                <a:latin typeface="Century Gothic" panose="020B0502020202020204" pitchFamily="34" charset="0"/>
              </a:rPr>
              <a:t> Azure Senior</a:t>
            </a:r>
          </a:p>
          <a:p>
            <a:endParaRPr lang="en-US" dirty="0">
              <a:solidFill>
                <a:srgbClr val="07072B"/>
              </a:solidFill>
              <a:latin typeface="Century Gothic" panose="020B0502020202020204" pitchFamily="34" charset="0"/>
            </a:endParaRPr>
          </a:p>
          <a:p>
            <a:endParaRPr lang="en-US" dirty="0">
              <a:solidFill>
                <a:srgbClr val="07072B"/>
              </a:solidFill>
              <a:latin typeface="Century Gothic" panose="020B0502020202020204" pitchFamily="34" charset="0"/>
            </a:endParaRPr>
          </a:p>
          <a:p>
            <a:r>
              <a:rPr lang="en-US" dirty="0">
                <a:solidFill>
                  <a:srgbClr val="07072B"/>
                </a:solidFill>
                <a:latin typeface="Century Gothic" panose="020B0502020202020204" pitchFamily="34" charset="0"/>
              </a:rPr>
              <a:t>Hilo</a:t>
            </a:r>
          </a:p>
        </p:txBody>
      </p:sp>
      <p:pic>
        <p:nvPicPr>
          <p:cNvPr id="9" name="Picture 8" descr="A person lying on a couch&#10;&#10;Description automatically generated with low confidence">
            <a:extLst>
              <a:ext uri="{FF2B5EF4-FFF2-40B4-BE49-F238E27FC236}">
                <a16:creationId xmlns:a16="http://schemas.microsoft.com/office/drawing/2014/main" id="{117E4730-7826-4E7B-A134-4F8410996A3F}"/>
              </a:ext>
            </a:extLst>
          </p:cNvPr>
          <p:cNvPicPr>
            <a:picLocks noChangeAspect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049" t="13011" r="10025" b="6585"/>
          <a:stretch/>
        </p:blipFill>
        <p:spPr>
          <a:xfrm rot="5400000">
            <a:off x="6127438" y="2029773"/>
            <a:ext cx="4356887" cy="3168352"/>
          </a:xfrm>
          <a:prstGeom prst="rect">
            <a:avLst/>
          </a:prstGeom>
          <a:ln w="38100" cap="sq">
            <a:solidFill>
              <a:srgbClr val="000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24730261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mc:AlternateContent xmlns:mc="http://schemas.openxmlformats.org/markup-compatibility/2006" xmlns:p14="http://schemas.microsoft.com/office/powerpoint/2010/main">
    <mc:Choice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8" fill="hold" nodeType="clickEffect" p14:presetBounceEnd="4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40000">
                                          <p:cBhvr additive="base">
                                            <p:cTn id="7" dur="500" fill="hold"/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40000">
                                          <p:cBhvr additive="base">
                                            <p:cTn id="8" dur="500" fill="hold"/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9" presetID="2" presetClass="entr" presetSubtype="8" fill="hold" nodeType="withEffect" p14:presetBounceEnd="40000">
                                      <p:stCondLst>
                                        <p:cond delay="100"/>
                                      </p:stCondLst>
                                      <p:childTnLst>
                                        <p:set>
                                          <p:cBhvr>
                                            <p:cTn id="1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40000">
                                          <p:cBhvr additive="base">
                                            <p:cTn id="11" dur="500" fill="hold"/>
                                            <p:tgtEl>
                                              <p:spTgt spid="2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40000">
                                          <p:cBhvr additive="base">
                                            <p:cTn id="12" dur="500" fill="hold"/>
                                            <p:tgtEl>
                                              <p:spTgt spid="2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</p:timing>
    </mc:Choice>
    <mc:Fallback xmlns="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8" fill="hold" nodeType="click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7" dur="500" fill="hold"/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8" dur="500" fill="hold"/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9" presetID="2" presetClass="entr" presetSubtype="8" fill="hold" nodeType="withEffect">
                                      <p:stCondLst>
                                        <p:cond delay="100"/>
                                      </p:stCondLst>
                                      <p:childTnLst>
                                        <p:set>
                                          <p:cBhvr>
                                            <p:cTn id="1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1" dur="500" fill="hold"/>
                                            <p:tgtEl>
                                              <p:spTgt spid="2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2" dur="500" fill="hold"/>
                                            <p:tgtEl>
                                              <p:spTgt spid="2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</p:timing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t 1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20" y="2120"/>
          <a:ext cx="2118" cy="211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5" imgW="216" imgH="216" progId="TCLayout.ActiveDocument.1">
                  <p:embed/>
                </p:oleObj>
              </mc:Choice>
              <mc:Fallback>
                <p:oleObj name="Diapositive think-cell" r:id="rId5" imgW="216" imgH="216" progId="TCLayout.ActiveDocument.1">
                  <p:embed/>
                  <p:pic>
                    <p:nvPicPr>
                      <p:cNvPr id="14" name="Objet 1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20" y="2120"/>
                        <a:ext cx="2118" cy="211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14" hidden="1"/>
          <p:cNvSpPr/>
          <p:nvPr>
            <p:custDataLst>
              <p:tags r:id="rId2"/>
            </p:custDataLst>
          </p:nvPr>
        </p:nvSpPr>
        <p:spPr>
          <a:xfrm>
            <a:off x="1" y="1"/>
            <a:ext cx="211722" cy="21171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1219362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 sz="2900" b="1">
              <a:solidFill>
                <a:srgbClr val="FFFFFF"/>
              </a:solidFill>
              <a:latin typeface="Calibri"/>
              <a:ea typeface="+mj-ea"/>
              <a:cs typeface="+mj-cs"/>
              <a:sym typeface="Calibri"/>
            </a:endParaRPr>
          </a:p>
        </p:txBody>
      </p:sp>
      <p:pic>
        <p:nvPicPr>
          <p:cNvPr id="17" name="Espace réservé pour une image  16"/>
          <p:cNvPicPr>
            <a:picLocks noGrp="1" noChangeAspect="1"/>
          </p:cNvPicPr>
          <p:nvPr>
            <p:ph type="pic" sz="quarter" idx="17"/>
          </p:nvPr>
        </p:nvPicPr>
        <p:blipFill>
          <a:blip r:embed="rId7">
            <a:alphaModFix amt="73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5" b="15"/>
          <a:stretch>
            <a:fillRect/>
          </a:stretch>
        </p:blipFill>
        <p:spPr/>
      </p:pic>
      <p:sp>
        <p:nvSpPr>
          <p:cNvPr id="3" name="Espace réservé du contenu 2"/>
          <p:cNvSpPr>
            <a:spLocks noGrp="1"/>
          </p:cNvSpPr>
          <p:nvPr>
            <p:ph sz="quarter" idx="18"/>
          </p:nvPr>
        </p:nvSpPr>
        <p:spPr>
          <a:xfrm>
            <a:off x="408955" y="1528726"/>
            <a:ext cx="5328592" cy="3816424"/>
          </a:xfrm>
        </p:spPr>
        <p:txBody>
          <a:bodyPr/>
          <a:lstStyle/>
          <a:p>
            <a:pPr marL="342900" indent="-342900">
              <a:buClr>
                <a:srgbClr val="FF9A00"/>
              </a:buClr>
              <a:buFont typeface="Arial" panose="020B0604020202020204" pitchFamily="34" charset="0"/>
              <a:buChar char="•"/>
            </a:pPr>
            <a:r>
              <a:rPr lang="fr-CA" sz="2400" b="0" dirty="0"/>
              <a:t>Filiale d’Hydro-Québec</a:t>
            </a:r>
          </a:p>
          <a:p>
            <a:pPr marL="342900" indent="-342900">
              <a:buClr>
                <a:srgbClr val="FF9A00"/>
              </a:buClr>
              <a:buFont typeface="Arial" panose="020B0604020202020204" pitchFamily="34" charset="0"/>
              <a:buChar char="•"/>
            </a:pPr>
            <a:endParaRPr lang="fr-CA" sz="2400" b="0" dirty="0"/>
          </a:p>
          <a:p>
            <a:pPr marL="342900" indent="-342900">
              <a:buClr>
                <a:srgbClr val="FF9A00"/>
              </a:buClr>
              <a:buFont typeface="Arial" panose="020B0604020202020204" pitchFamily="34" charset="0"/>
              <a:buChar char="•"/>
            </a:pPr>
            <a:endParaRPr lang="fr-CA" sz="2400" b="0" dirty="0"/>
          </a:p>
          <a:p>
            <a:pPr marL="342900" indent="-342900">
              <a:buClr>
                <a:srgbClr val="FF9A00"/>
              </a:buClr>
              <a:buFont typeface="Arial" panose="020B0604020202020204" pitchFamily="34" charset="0"/>
              <a:buChar char="•"/>
            </a:pPr>
            <a:r>
              <a:rPr lang="fr-CA" sz="2400" b="0" dirty="0"/>
              <a:t>Transition énergétique</a:t>
            </a:r>
          </a:p>
          <a:p>
            <a:pPr marL="342900" indent="-342900">
              <a:buClr>
                <a:srgbClr val="FF9A00"/>
              </a:buClr>
              <a:buFont typeface="Arial" panose="020B0604020202020204" pitchFamily="34" charset="0"/>
              <a:buChar char="•"/>
            </a:pPr>
            <a:endParaRPr lang="fr-CA" sz="2400" b="0" dirty="0"/>
          </a:p>
          <a:p>
            <a:pPr marL="342900" indent="-342900">
              <a:buClr>
                <a:srgbClr val="FF9A00"/>
              </a:buClr>
              <a:buFont typeface="Arial" panose="020B0604020202020204" pitchFamily="34" charset="0"/>
              <a:buChar char="•"/>
            </a:pPr>
            <a:endParaRPr lang="fr-CA" sz="2400" b="0" dirty="0"/>
          </a:p>
          <a:p>
            <a:pPr marL="342900" indent="-342900">
              <a:buClr>
                <a:srgbClr val="FF9A00"/>
              </a:buClr>
              <a:buFont typeface="Arial" panose="020B0604020202020204" pitchFamily="34" charset="0"/>
              <a:buChar char="•"/>
            </a:pPr>
            <a:r>
              <a:rPr lang="fr-CA" sz="2400" b="0" dirty="0"/>
              <a:t>Offre de Maison intelligente</a:t>
            </a:r>
          </a:p>
          <a:p>
            <a:pPr marL="342900" indent="-342900">
              <a:buClr>
                <a:srgbClr val="FF9A00"/>
              </a:buClr>
              <a:buFont typeface="Arial" panose="020B0604020202020204" pitchFamily="34" charset="0"/>
              <a:buChar char="•"/>
            </a:pPr>
            <a:endParaRPr lang="fr-CA" sz="2400" b="0" dirty="0"/>
          </a:p>
          <a:p>
            <a:pPr marL="342900" indent="-342900">
              <a:buClr>
                <a:srgbClr val="FF9A00"/>
              </a:buClr>
              <a:buFont typeface="Arial" panose="020B0604020202020204" pitchFamily="34" charset="0"/>
              <a:buChar char="•"/>
            </a:pPr>
            <a:endParaRPr lang="fr-CA" sz="2400" b="0" dirty="0"/>
          </a:p>
          <a:p>
            <a:pPr marL="342900" indent="-342900">
              <a:buClr>
                <a:srgbClr val="FF9A00"/>
              </a:buClr>
              <a:buFont typeface="Arial" panose="020B0604020202020204" pitchFamily="34" charset="0"/>
              <a:buChar char="•"/>
            </a:pPr>
            <a:r>
              <a:rPr lang="fr-CA" sz="2400" b="0" dirty="0"/>
              <a:t>Défis de gestion de la demande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fr-CA" sz="2000" b="0" dirty="0">
              <a:solidFill>
                <a:schemeClr val="tx1"/>
              </a:solidFill>
            </a:endParaRPr>
          </a:p>
        </p:txBody>
      </p:sp>
      <p:pic>
        <p:nvPicPr>
          <p:cNvPr id="2" name="Image 1">
            <a:extLst>
              <a:ext uri="{FF2B5EF4-FFF2-40B4-BE49-F238E27FC236}">
                <a16:creationId xmlns:a16="http://schemas.microsoft.com/office/drawing/2014/main" id="{9A47404A-43E8-44FF-818B-853A76E65F10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116071" y="4257430"/>
            <a:ext cx="2052684" cy="20526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63059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Content Placeholder 16">
            <a:extLst>
              <a:ext uri="{FF2B5EF4-FFF2-40B4-BE49-F238E27FC236}">
                <a16:creationId xmlns:a16="http://schemas.microsoft.com/office/drawing/2014/main" id="{B8EEFCA7-BEF4-4E0F-9BA9-2AC21C6F6E22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511150" y="3057083"/>
            <a:ext cx="6120680" cy="745422"/>
          </a:xfrm>
        </p:spPr>
        <p:txBody>
          <a:bodyPr/>
          <a:lstStyle/>
          <a:p>
            <a:pPr algn="ctr"/>
            <a:r>
              <a:rPr lang="en-CA" dirty="0"/>
              <a:t>Sources </a:t>
            </a:r>
            <a:r>
              <a:rPr lang="en-CA" dirty="0" err="1"/>
              <a:t>disponibles</a:t>
            </a:r>
            <a:r>
              <a:rPr lang="en-CA" dirty="0"/>
              <a:t> </a:t>
            </a:r>
            <a:r>
              <a:rPr lang="en-CA" dirty="0" err="1"/>
              <a:t>ici</a:t>
            </a:r>
            <a:r>
              <a:rPr lang="en-CA" dirty="0"/>
              <a:t> :</a:t>
            </a:r>
            <a:endParaRPr lang="fr-CA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C309F694-4527-499F-BB07-819CDED9462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CA" sz="2800" dirty="0" err="1"/>
              <a:t>Informations</a:t>
            </a:r>
            <a:r>
              <a:rPr lang="en-CA" sz="2800" dirty="0"/>
              <a:t> </a:t>
            </a:r>
            <a:r>
              <a:rPr lang="en-CA" sz="2800" dirty="0" err="1"/>
              <a:t>générales</a:t>
            </a:r>
            <a:endParaRPr lang="en-CA" sz="2800" dirty="0"/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A95B90FC-8EAF-4CCA-875F-DBE5FDFE21F7}"/>
              </a:ext>
            </a:extLst>
          </p:cNvPr>
          <p:cNvGrpSpPr/>
          <p:nvPr/>
        </p:nvGrpSpPr>
        <p:grpSpPr>
          <a:xfrm>
            <a:off x="6691651" y="2079870"/>
            <a:ext cx="3780421" cy="2789238"/>
            <a:chOff x="940004" y="3429794"/>
            <a:chExt cx="3780421" cy="2789238"/>
          </a:xfrm>
        </p:grpSpPr>
        <p:pic>
          <p:nvPicPr>
            <p:cNvPr id="18" name="Content Placeholder 8" descr="https://github.com/Invvard/DemoTerraform">
              <a:extLst>
                <a:ext uri="{FF2B5EF4-FFF2-40B4-BE49-F238E27FC236}">
                  <a16:creationId xmlns:a16="http://schemas.microsoft.com/office/drawing/2014/main" id="{8D61802C-8BD2-4E4C-82F0-DA7E8E661E4F}"/>
                </a:ext>
                <a:ext uri="{C183D7F6-B498-43B3-948B-1728B52AA6E4}">
                  <adec:decorative xmlns:adec="http://schemas.microsoft.com/office/drawing/2017/decorative" val="0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auto">
            <a:xfrm>
              <a:off x="1561083" y="3429794"/>
              <a:ext cx="2538264" cy="25382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75710A02-76C8-4BB0-95B1-8A877337B82D}"/>
                </a:ext>
              </a:extLst>
            </p:cNvPr>
            <p:cNvSpPr txBox="1"/>
            <p:nvPr/>
          </p:nvSpPr>
          <p:spPr>
            <a:xfrm>
              <a:off x="940004" y="5880478"/>
              <a:ext cx="3780421" cy="33855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fr-CA" sz="1600" u="sng" dirty="0">
                  <a:solidFill>
                    <a:srgbClr val="9B9B9B"/>
                  </a:solidFill>
                  <a:effectLst/>
                  <a:latin typeface="Century Gothic" panose="020B0502020202020204" pitchFamily="34" charset="0"/>
                  <a:ea typeface="Times New Roman" panose="02020603050405020304" pitchFamily="18" charset="0"/>
                  <a:cs typeface="Times New Roman" panose="02020603050405020304" pitchFamily="18" charset="0"/>
                  <a:hlinkClick r:id="rId4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github.com/Invvard/DemoTerraform</a:t>
              </a:r>
              <a:endParaRPr lang="fr-CA" sz="1600" dirty="0">
                <a:solidFill>
                  <a:srgbClr val="9B9B9B"/>
                </a:solidFill>
                <a:latin typeface="Century Gothic" panose="020B0502020202020204" pitchFamily="34" charset="0"/>
              </a:endParaRPr>
            </a:p>
          </p:txBody>
        </p:sp>
      </p:grpSp>
      <p:sp>
        <p:nvSpPr>
          <p:cNvPr id="21" name="TextBox 20">
            <a:extLst>
              <a:ext uri="{FF2B5EF4-FFF2-40B4-BE49-F238E27FC236}">
                <a16:creationId xmlns:a16="http://schemas.microsoft.com/office/drawing/2014/main" id="{B3FEDCFB-FED7-4987-B13D-640C516D423E}"/>
              </a:ext>
            </a:extLst>
          </p:cNvPr>
          <p:cNvSpPr txBox="1"/>
          <p:nvPr/>
        </p:nvSpPr>
        <p:spPr>
          <a:xfrm>
            <a:off x="6601643" y="6454130"/>
            <a:ext cx="5256584" cy="216024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algn="r">
              <a:lnSpc>
                <a:spcPct val="90000"/>
              </a:lnSpc>
              <a:spcBef>
                <a:spcPts val="400"/>
              </a:spcBef>
            </a:pPr>
            <a:r>
              <a:rPr lang="en-CA" sz="1600" dirty="0" err="1">
                <a:solidFill>
                  <a:srgbClr val="07072B"/>
                </a:solidFill>
                <a:latin typeface="Century Gothic" panose="020B0502020202020204" pitchFamily="34" charset="0"/>
              </a:rPr>
              <a:t>Générateur</a:t>
            </a:r>
            <a:r>
              <a:rPr lang="en-CA" sz="1600" dirty="0">
                <a:solidFill>
                  <a:srgbClr val="07072B"/>
                </a:solidFill>
                <a:latin typeface="Century Gothic" panose="020B0502020202020204" pitchFamily="34" charset="0"/>
              </a:rPr>
              <a:t> de QR Code :</a:t>
            </a:r>
            <a:r>
              <a:rPr lang="en-CA" sz="1600" dirty="0">
                <a:solidFill>
                  <a:srgbClr val="32323C"/>
                </a:solidFill>
                <a:latin typeface="Century Gothic" panose="020B0502020202020204" pitchFamily="34" charset="0"/>
              </a:rPr>
              <a:t> </a:t>
            </a:r>
            <a:r>
              <a:rPr lang="fr-CA" sz="1200" u="sng" dirty="0">
                <a:solidFill>
                  <a:srgbClr val="9B9B9B"/>
                </a:solidFill>
                <a:effectLst/>
                <a:latin typeface="Century Gothic" panose="020B0502020202020204" pitchFamily="34" charset="0"/>
                <a:ea typeface="Times New Roman" panose="02020603050405020304" pitchFamily="18" charset="0"/>
                <a:cs typeface="Times New Roman" panose="02020603050405020304" pitchFamily="18" charset="0"/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www.qrcode-monkey.com</a:t>
            </a:r>
            <a:r>
              <a:rPr lang="fr-CA" sz="1200" u="sng" dirty="0">
                <a:solidFill>
                  <a:srgbClr val="7D7D7D"/>
                </a:solidFill>
                <a:effectLst/>
                <a:latin typeface="Century Gothic" panose="020B0502020202020204" pitchFamily="34" charset="0"/>
                <a:ea typeface="Times New Roman" panose="02020603050405020304" pitchFamily="18" charset="0"/>
                <a:cs typeface="Times New Roman" panose="02020603050405020304" pitchFamily="18" charset="0"/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/</a:t>
            </a:r>
            <a:endParaRPr lang="fr-CA" sz="1600" dirty="0">
              <a:solidFill>
                <a:srgbClr val="32323C"/>
              </a:solidFill>
              <a:latin typeface="Century Gothic" panose="020B0502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345184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ce réservé du contenu 5">
            <a:extLst>
              <a:ext uri="{FF2B5EF4-FFF2-40B4-BE49-F238E27FC236}">
                <a16:creationId xmlns:a16="http://schemas.microsoft.com/office/drawing/2014/main" id="{D037EEB5-6036-41AA-855E-326A8E292CAE}"/>
              </a:ext>
            </a:extLst>
          </p:cNvPr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r>
              <a:rPr lang="fr-CA" dirty="0"/>
              <a:t>Les bases du </a:t>
            </a:r>
            <a:r>
              <a:rPr lang="fr-CA" dirty="0" err="1"/>
              <a:t>IaC</a:t>
            </a:r>
            <a:endParaRPr lang="fr-CA" dirty="0"/>
          </a:p>
        </p:txBody>
      </p:sp>
    </p:spTree>
    <p:extLst>
      <p:ext uri="{BB962C8B-B14F-4D97-AF65-F5344CB8AC3E}">
        <p14:creationId xmlns:p14="http://schemas.microsoft.com/office/powerpoint/2010/main" val="21385828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Click="0" advTm="3000">
        <p:fade/>
      </p:transition>
    </mc:Choice>
    <mc:Fallback xmlns="">
      <p:transition spd="med" advClick="0" advTm="3000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18D694B-B42D-45E2-93AC-7DA977E14BD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algn="r">
              <a:defRPr/>
            </a:pPr>
            <a:fld id="{89AA4CF2-98ED-4480-867D-4533B78D23B5}" type="slidenum">
              <a:rPr lang="fr-CA" altLang="fr-FR" smtClean="0"/>
              <a:pPr algn="r">
                <a:defRPr/>
              </a:pPr>
              <a:t>7</a:t>
            </a:fld>
            <a:endParaRPr lang="fr-CA" altLang="fr-FR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1843830-DCCD-4FF5-9A1C-C01CB169CE6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CA" sz="2800" dirty="0" err="1"/>
              <a:t>Problématique</a:t>
            </a:r>
            <a:endParaRPr lang="fr-CA" sz="2800" dirty="0"/>
          </a:p>
        </p:txBody>
      </p:sp>
      <p:pic>
        <p:nvPicPr>
          <p:cNvPr id="25" name="Graphic 24" descr="Resource Group">
            <a:extLst>
              <a:ext uri="{FF2B5EF4-FFF2-40B4-BE49-F238E27FC236}">
                <a16:creationId xmlns:a16="http://schemas.microsoft.com/office/drawing/2014/main" id="{C5F261E9-66E4-4E7E-B4FA-AD55E177C69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5199364" y="1931165"/>
            <a:ext cx="1080000" cy="1080000"/>
          </a:xfrm>
          <a:prstGeom prst="rect">
            <a:avLst/>
          </a:prstGeom>
        </p:spPr>
      </p:pic>
      <p:pic>
        <p:nvPicPr>
          <p:cNvPr id="27" name="Graphic 26" descr="IoT Hub">
            <a:extLst>
              <a:ext uri="{FF2B5EF4-FFF2-40B4-BE49-F238E27FC236}">
                <a16:creationId xmlns:a16="http://schemas.microsoft.com/office/drawing/2014/main" id="{7C1CCB90-BB1C-4B29-8C28-54EB62852BBC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6446126" y="3555819"/>
            <a:ext cx="1080000" cy="1080000"/>
          </a:xfrm>
          <a:prstGeom prst="rect">
            <a:avLst/>
          </a:prstGeom>
        </p:spPr>
      </p:pic>
      <p:pic>
        <p:nvPicPr>
          <p:cNvPr id="29" name="Graphic 28" descr="Azure Function">
            <a:extLst>
              <a:ext uri="{FF2B5EF4-FFF2-40B4-BE49-F238E27FC236}">
                <a16:creationId xmlns:a16="http://schemas.microsoft.com/office/drawing/2014/main" id="{94F86EFD-95F4-4C61-A103-A6BF729966D8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5184109" y="4095819"/>
            <a:ext cx="1080000" cy="1080000"/>
          </a:xfrm>
          <a:prstGeom prst="rect">
            <a:avLst/>
          </a:prstGeom>
        </p:spPr>
      </p:pic>
      <p:pic>
        <p:nvPicPr>
          <p:cNvPr id="43" name="Graphic 42" descr="Virtual Networks">
            <a:extLst>
              <a:ext uri="{FF2B5EF4-FFF2-40B4-BE49-F238E27FC236}">
                <a16:creationId xmlns:a16="http://schemas.microsoft.com/office/drawing/2014/main" id="{B0578D10-33F3-46ED-AABD-983DB7625086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5199364" y="3011165"/>
            <a:ext cx="1080000" cy="1080000"/>
          </a:xfrm>
          <a:prstGeom prst="rect">
            <a:avLst/>
          </a:prstGeom>
        </p:spPr>
      </p:pic>
      <p:pic>
        <p:nvPicPr>
          <p:cNvPr id="49" name="Graphic 48" descr="AKS&#10;">
            <a:extLst>
              <a:ext uri="{FF2B5EF4-FFF2-40B4-BE49-F238E27FC236}">
                <a16:creationId xmlns:a16="http://schemas.microsoft.com/office/drawing/2014/main" id="{49A3272D-9A5D-4847-9097-50337BFF02FB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3937347" y="3555819"/>
            <a:ext cx="1080000" cy="1080000"/>
          </a:xfrm>
          <a:prstGeom prst="rect">
            <a:avLst/>
          </a:prstGeom>
        </p:spPr>
      </p:pic>
      <p:pic>
        <p:nvPicPr>
          <p:cNvPr id="53" name="Graphic 52" descr="App Services">
            <a:extLst>
              <a:ext uri="{FF2B5EF4-FFF2-40B4-BE49-F238E27FC236}">
                <a16:creationId xmlns:a16="http://schemas.microsoft.com/office/drawing/2014/main" id="{629C8347-8192-41DC-BF0C-1C9D28319F60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3937347" y="2471165"/>
            <a:ext cx="1080000" cy="1080000"/>
          </a:xfrm>
          <a:prstGeom prst="rect">
            <a:avLst/>
          </a:prstGeom>
        </p:spPr>
      </p:pic>
      <p:pic>
        <p:nvPicPr>
          <p:cNvPr id="57" name="Graphic 56" descr="ADX">
            <a:extLst>
              <a:ext uri="{FF2B5EF4-FFF2-40B4-BE49-F238E27FC236}">
                <a16:creationId xmlns:a16="http://schemas.microsoft.com/office/drawing/2014/main" id="{3CEFC1E0-B5CD-423C-AC00-C535844165D3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6457627" y="2471165"/>
            <a:ext cx="1080000" cy="1080000"/>
          </a:xfrm>
          <a:prstGeom prst="rect">
            <a:avLst/>
          </a:prstGeom>
        </p:spPr>
      </p:pic>
      <p:sp>
        <p:nvSpPr>
          <p:cNvPr id="70" name="Rectangle: Rounded Corners 69">
            <a:extLst>
              <a:ext uri="{FF2B5EF4-FFF2-40B4-BE49-F238E27FC236}">
                <a16:creationId xmlns:a16="http://schemas.microsoft.com/office/drawing/2014/main" id="{ED5BA112-5158-41AF-B403-43251B9111EA}"/>
              </a:ext>
            </a:extLst>
          </p:cNvPr>
          <p:cNvSpPr/>
          <p:nvPr/>
        </p:nvSpPr>
        <p:spPr bwMode="auto">
          <a:xfrm>
            <a:off x="3865339" y="1931165"/>
            <a:ext cx="3744416" cy="3244654"/>
          </a:xfrm>
          <a:prstGeom prst="roundRect">
            <a:avLst/>
          </a:prstGeom>
          <a:noFill/>
          <a:ln w="38100">
            <a:solidFill>
              <a:srgbClr val="07072B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rtlCol="0" anchor="ctr"/>
          <a:lstStyle/>
          <a:p>
            <a:pPr algn="ctr"/>
            <a:endParaRPr lang="fr-CA"/>
          </a:p>
        </p:txBody>
      </p:sp>
      <p:sp>
        <p:nvSpPr>
          <p:cNvPr id="71" name="TextBox 70">
            <a:extLst>
              <a:ext uri="{FF2B5EF4-FFF2-40B4-BE49-F238E27FC236}">
                <a16:creationId xmlns:a16="http://schemas.microsoft.com/office/drawing/2014/main" id="{9F0E6AA7-4897-477C-9B7B-B6315520645F}"/>
              </a:ext>
            </a:extLst>
          </p:cNvPr>
          <p:cNvSpPr txBox="1"/>
          <p:nvPr/>
        </p:nvSpPr>
        <p:spPr>
          <a:xfrm>
            <a:off x="5638800" y="3451450"/>
            <a:ext cx="914400" cy="914400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>
              <a:lnSpc>
                <a:spcPct val="90000"/>
              </a:lnSpc>
              <a:spcBef>
                <a:spcPts val="400"/>
              </a:spcBef>
            </a:pPr>
            <a:endParaRPr lang="fr-CA" dirty="0" err="1">
              <a:solidFill>
                <a:srgbClr val="32323C"/>
              </a:solidFill>
            </a:endParaRPr>
          </a:p>
        </p:txBody>
      </p:sp>
      <p:sp>
        <p:nvSpPr>
          <p:cNvPr id="72" name="TextBox 71">
            <a:extLst>
              <a:ext uri="{FF2B5EF4-FFF2-40B4-BE49-F238E27FC236}">
                <a16:creationId xmlns:a16="http://schemas.microsoft.com/office/drawing/2014/main" id="{FC660331-A024-44FE-8336-A7B8EB3BE8E7}"/>
              </a:ext>
            </a:extLst>
          </p:cNvPr>
          <p:cNvSpPr txBox="1"/>
          <p:nvPr/>
        </p:nvSpPr>
        <p:spPr>
          <a:xfrm>
            <a:off x="4297387" y="1638479"/>
            <a:ext cx="719960" cy="28803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algn="ctr">
              <a:lnSpc>
                <a:spcPct val="90000"/>
              </a:lnSpc>
              <a:spcBef>
                <a:spcPts val="400"/>
              </a:spcBef>
            </a:pPr>
            <a:r>
              <a:rPr lang="fr-CA" b="1" dirty="0">
                <a:solidFill>
                  <a:srgbClr val="07072B"/>
                </a:solidFill>
              </a:rPr>
              <a:t>DEV</a:t>
            </a:r>
          </a:p>
        </p:txBody>
      </p:sp>
      <p:grpSp>
        <p:nvGrpSpPr>
          <p:cNvPr id="83" name="Group 82">
            <a:extLst>
              <a:ext uri="{FF2B5EF4-FFF2-40B4-BE49-F238E27FC236}">
                <a16:creationId xmlns:a16="http://schemas.microsoft.com/office/drawing/2014/main" id="{22F687BF-5559-456E-A14F-EAF707327011}"/>
              </a:ext>
            </a:extLst>
          </p:cNvPr>
          <p:cNvGrpSpPr/>
          <p:nvPr/>
        </p:nvGrpSpPr>
        <p:grpSpPr>
          <a:xfrm>
            <a:off x="3851901" y="1931165"/>
            <a:ext cx="3744416" cy="3244654"/>
            <a:chOff x="8064446" y="3209476"/>
            <a:chExt cx="3744416" cy="3244654"/>
          </a:xfrm>
        </p:grpSpPr>
        <p:pic>
          <p:nvPicPr>
            <p:cNvPr id="74" name="Graphic 73" descr="Resource Group">
              <a:extLst>
                <a:ext uri="{FF2B5EF4-FFF2-40B4-BE49-F238E27FC236}">
                  <a16:creationId xmlns:a16="http://schemas.microsoft.com/office/drawing/2014/main" id="{F71C32F1-330D-4669-A3C5-A3773AF27A64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9398471" y="3209476"/>
              <a:ext cx="1080000" cy="1080000"/>
            </a:xfrm>
            <a:prstGeom prst="rect">
              <a:avLst/>
            </a:prstGeom>
          </p:spPr>
        </p:pic>
        <p:pic>
          <p:nvPicPr>
            <p:cNvPr id="75" name="Graphic 74" descr="IoT Hub">
              <a:extLst>
                <a:ext uri="{FF2B5EF4-FFF2-40B4-BE49-F238E27FC236}">
                  <a16:creationId xmlns:a16="http://schemas.microsoft.com/office/drawing/2014/main" id="{33CEEA4C-FF14-4E69-AC46-F7254C0919D2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10645233" y="4834130"/>
              <a:ext cx="1080000" cy="1080000"/>
            </a:xfrm>
            <a:prstGeom prst="rect">
              <a:avLst/>
            </a:prstGeom>
          </p:spPr>
        </p:pic>
        <p:pic>
          <p:nvPicPr>
            <p:cNvPr id="76" name="Graphic 75" descr="Azure Function">
              <a:extLst>
                <a:ext uri="{FF2B5EF4-FFF2-40B4-BE49-F238E27FC236}">
                  <a16:creationId xmlns:a16="http://schemas.microsoft.com/office/drawing/2014/main" id="{9848C28C-2B23-49D0-8A10-A9CF58BBD456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9383216" y="5374130"/>
              <a:ext cx="1080000" cy="1080000"/>
            </a:xfrm>
            <a:prstGeom prst="rect">
              <a:avLst/>
            </a:prstGeom>
          </p:spPr>
        </p:pic>
        <p:pic>
          <p:nvPicPr>
            <p:cNvPr id="77" name="Graphic 76" descr="Virtual Networks">
              <a:extLst>
                <a:ext uri="{FF2B5EF4-FFF2-40B4-BE49-F238E27FC236}">
                  <a16:creationId xmlns:a16="http://schemas.microsoft.com/office/drawing/2014/main" id="{10D0D486-D072-4745-B6AD-49FCC8998DCA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9398471" y="4289476"/>
              <a:ext cx="1080000" cy="1080000"/>
            </a:xfrm>
            <a:prstGeom prst="rect">
              <a:avLst/>
            </a:prstGeom>
          </p:spPr>
        </p:pic>
        <p:pic>
          <p:nvPicPr>
            <p:cNvPr id="78" name="Graphic 77" descr="AKS&#10;">
              <a:extLst>
                <a:ext uri="{FF2B5EF4-FFF2-40B4-BE49-F238E27FC236}">
                  <a16:creationId xmlns:a16="http://schemas.microsoft.com/office/drawing/2014/main" id="{DE693DC7-D445-42F1-A83A-81FA3365D3ED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>
              <a:off x="8136454" y="4834130"/>
              <a:ext cx="1080000" cy="1080000"/>
            </a:xfrm>
            <a:prstGeom prst="rect">
              <a:avLst/>
            </a:prstGeom>
          </p:spPr>
        </p:pic>
        <p:pic>
          <p:nvPicPr>
            <p:cNvPr id="79" name="Graphic 78" descr="App Services">
              <a:extLst>
                <a:ext uri="{FF2B5EF4-FFF2-40B4-BE49-F238E27FC236}">
                  <a16:creationId xmlns:a16="http://schemas.microsoft.com/office/drawing/2014/main" id="{A32FE88A-6D67-4E39-8B90-88944E4F74BC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4"/>
                </a:ext>
              </a:extLst>
            </a:blip>
            <a:stretch>
              <a:fillRect/>
            </a:stretch>
          </p:blipFill>
          <p:spPr>
            <a:xfrm>
              <a:off x="8136454" y="3749476"/>
              <a:ext cx="1080000" cy="1080000"/>
            </a:xfrm>
            <a:prstGeom prst="rect">
              <a:avLst/>
            </a:prstGeom>
          </p:spPr>
        </p:pic>
        <p:pic>
          <p:nvPicPr>
            <p:cNvPr id="80" name="Graphic 79" descr="ADX">
              <a:extLst>
                <a:ext uri="{FF2B5EF4-FFF2-40B4-BE49-F238E27FC236}">
                  <a16:creationId xmlns:a16="http://schemas.microsoft.com/office/drawing/2014/main" id="{E8B81BC5-D781-4F43-B24D-D4A26DA8343D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6"/>
                </a:ext>
              </a:extLst>
            </a:blip>
            <a:stretch>
              <a:fillRect/>
            </a:stretch>
          </p:blipFill>
          <p:spPr>
            <a:xfrm>
              <a:off x="10656734" y="3749476"/>
              <a:ext cx="1080000" cy="1080000"/>
            </a:xfrm>
            <a:prstGeom prst="rect">
              <a:avLst/>
            </a:prstGeom>
          </p:spPr>
        </p:pic>
        <p:sp>
          <p:nvSpPr>
            <p:cNvPr id="81" name="Rectangle: Rounded Corners 80">
              <a:extLst>
                <a:ext uri="{FF2B5EF4-FFF2-40B4-BE49-F238E27FC236}">
                  <a16:creationId xmlns:a16="http://schemas.microsoft.com/office/drawing/2014/main" id="{5B4D4BCD-EF3E-444E-9292-EE9E147F42BB}"/>
                </a:ext>
              </a:extLst>
            </p:cNvPr>
            <p:cNvSpPr/>
            <p:nvPr/>
          </p:nvSpPr>
          <p:spPr bwMode="auto">
            <a:xfrm>
              <a:off x="8064446" y="3209476"/>
              <a:ext cx="3744416" cy="3244654"/>
            </a:xfrm>
            <a:prstGeom prst="roundRect">
              <a:avLst/>
            </a:prstGeom>
            <a:noFill/>
            <a:ln w="38100">
              <a:solidFill>
                <a:srgbClr val="07072B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rtlCol="0" anchor="ctr"/>
            <a:lstStyle/>
            <a:p>
              <a:pPr algn="ctr"/>
              <a:endParaRPr lang="fr-CA"/>
            </a:p>
          </p:txBody>
        </p:sp>
        <p:sp>
          <p:nvSpPr>
            <p:cNvPr id="82" name="TextBox 81">
              <a:extLst>
                <a:ext uri="{FF2B5EF4-FFF2-40B4-BE49-F238E27FC236}">
                  <a16:creationId xmlns:a16="http://schemas.microsoft.com/office/drawing/2014/main" id="{8837D9EF-D778-4A5E-A9CD-AF6F8CBB7F43}"/>
                </a:ext>
              </a:extLst>
            </p:cNvPr>
            <p:cNvSpPr txBox="1"/>
            <p:nvPr/>
          </p:nvSpPr>
          <p:spPr>
            <a:xfrm>
              <a:off x="9837907" y="4729761"/>
              <a:ext cx="914400" cy="914400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noAutofit/>
            </a:bodyPr>
            <a:lstStyle/>
            <a:p>
              <a:pPr>
                <a:lnSpc>
                  <a:spcPct val="90000"/>
                </a:lnSpc>
                <a:spcBef>
                  <a:spcPts val="400"/>
                </a:spcBef>
              </a:pPr>
              <a:endParaRPr lang="fr-CA" dirty="0" err="1">
                <a:solidFill>
                  <a:srgbClr val="32323C"/>
                </a:solidFill>
              </a:endParaRPr>
            </a:p>
          </p:txBody>
        </p:sp>
      </p:grpSp>
      <p:grpSp>
        <p:nvGrpSpPr>
          <p:cNvPr id="102" name="Group 101">
            <a:extLst>
              <a:ext uri="{FF2B5EF4-FFF2-40B4-BE49-F238E27FC236}">
                <a16:creationId xmlns:a16="http://schemas.microsoft.com/office/drawing/2014/main" id="{FD0F7DF2-A11D-4193-9926-EAC0C91A9723}"/>
              </a:ext>
            </a:extLst>
          </p:cNvPr>
          <p:cNvGrpSpPr/>
          <p:nvPr/>
        </p:nvGrpSpPr>
        <p:grpSpPr>
          <a:xfrm>
            <a:off x="192931" y="1931165"/>
            <a:ext cx="3744416" cy="3244654"/>
            <a:chOff x="8064446" y="3209476"/>
            <a:chExt cx="3744416" cy="3244654"/>
          </a:xfrm>
        </p:grpSpPr>
        <p:pic>
          <p:nvPicPr>
            <p:cNvPr id="103" name="Graphic 102" descr="Resource Group">
              <a:extLst>
                <a:ext uri="{FF2B5EF4-FFF2-40B4-BE49-F238E27FC236}">
                  <a16:creationId xmlns:a16="http://schemas.microsoft.com/office/drawing/2014/main" id="{8B5BB666-1E6F-4BF4-8FA1-EE15BF5196D1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9398471" y="3209476"/>
              <a:ext cx="1080000" cy="1080000"/>
            </a:xfrm>
            <a:prstGeom prst="rect">
              <a:avLst/>
            </a:prstGeom>
          </p:spPr>
        </p:pic>
        <p:pic>
          <p:nvPicPr>
            <p:cNvPr id="104" name="Graphic 103" descr="IoT Hub">
              <a:extLst>
                <a:ext uri="{FF2B5EF4-FFF2-40B4-BE49-F238E27FC236}">
                  <a16:creationId xmlns:a16="http://schemas.microsoft.com/office/drawing/2014/main" id="{7AEDE537-F6F4-47CD-ADA7-A1FEABCA3803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10645233" y="4834130"/>
              <a:ext cx="1080000" cy="1080000"/>
            </a:xfrm>
            <a:prstGeom prst="rect">
              <a:avLst/>
            </a:prstGeom>
          </p:spPr>
        </p:pic>
        <p:pic>
          <p:nvPicPr>
            <p:cNvPr id="105" name="Graphic 104" descr="Azure Function">
              <a:extLst>
                <a:ext uri="{FF2B5EF4-FFF2-40B4-BE49-F238E27FC236}">
                  <a16:creationId xmlns:a16="http://schemas.microsoft.com/office/drawing/2014/main" id="{2B840043-1975-4B53-82CE-1EF5A18F07AC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9383216" y="5374130"/>
              <a:ext cx="1080000" cy="1080000"/>
            </a:xfrm>
            <a:prstGeom prst="rect">
              <a:avLst/>
            </a:prstGeom>
          </p:spPr>
        </p:pic>
        <p:pic>
          <p:nvPicPr>
            <p:cNvPr id="106" name="Graphic 105" descr="Virtual Networks">
              <a:extLst>
                <a:ext uri="{FF2B5EF4-FFF2-40B4-BE49-F238E27FC236}">
                  <a16:creationId xmlns:a16="http://schemas.microsoft.com/office/drawing/2014/main" id="{C667CA02-563A-4230-BC85-6010C983E80D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9398471" y="4289476"/>
              <a:ext cx="1080000" cy="1080000"/>
            </a:xfrm>
            <a:prstGeom prst="rect">
              <a:avLst/>
            </a:prstGeom>
          </p:spPr>
        </p:pic>
        <p:pic>
          <p:nvPicPr>
            <p:cNvPr id="107" name="Graphic 106" descr="AKS&#10;">
              <a:extLst>
                <a:ext uri="{FF2B5EF4-FFF2-40B4-BE49-F238E27FC236}">
                  <a16:creationId xmlns:a16="http://schemas.microsoft.com/office/drawing/2014/main" id="{682A2BA2-93E1-41C3-ABBC-84061F3B5F1C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>
              <a:off x="8136454" y="4834130"/>
              <a:ext cx="1080000" cy="1080000"/>
            </a:xfrm>
            <a:prstGeom prst="rect">
              <a:avLst/>
            </a:prstGeom>
          </p:spPr>
        </p:pic>
        <p:pic>
          <p:nvPicPr>
            <p:cNvPr id="108" name="Graphic 107" descr="App Services">
              <a:extLst>
                <a:ext uri="{FF2B5EF4-FFF2-40B4-BE49-F238E27FC236}">
                  <a16:creationId xmlns:a16="http://schemas.microsoft.com/office/drawing/2014/main" id="{B5441CB0-C03D-4ED2-BC2E-ED681AC21239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4"/>
                </a:ext>
              </a:extLst>
            </a:blip>
            <a:stretch>
              <a:fillRect/>
            </a:stretch>
          </p:blipFill>
          <p:spPr>
            <a:xfrm>
              <a:off x="8136454" y="3749476"/>
              <a:ext cx="1080000" cy="1080000"/>
            </a:xfrm>
            <a:prstGeom prst="rect">
              <a:avLst/>
            </a:prstGeom>
          </p:spPr>
        </p:pic>
        <p:pic>
          <p:nvPicPr>
            <p:cNvPr id="109" name="Graphic 108" descr="ADX">
              <a:extLst>
                <a:ext uri="{FF2B5EF4-FFF2-40B4-BE49-F238E27FC236}">
                  <a16:creationId xmlns:a16="http://schemas.microsoft.com/office/drawing/2014/main" id="{772F3A46-6CF8-41C4-ACCE-7BFF70F81C28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6"/>
                </a:ext>
              </a:extLst>
            </a:blip>
            <a:stretch>
              <a:fillRect/>
            </a:stretch>
          </p:blipFill>
          <p:spPr>
            <a:xfrm>
              <a:off x="10656734" y="3749476"/>
              <a:ext cx="1080000" cy="1080000"/>
            </a:xfrm>
            <a:prstGeom prst="rect">
              <a:avLst/>
            </a:prstGeom>
          </p:spPr>
        </p:pic>
        <p:sp>
          <p:nvSpPr>
            <p:cNvPr id="110" name="Rectangle: Rounded Corners 109">
              <a:extLst>
                <a:ext uri="{FF2B5EF4-FFF2-40B4-BE49-F238E27FC236}">
                  <a16:creationId xmlns:a16="http://schemas.microsoft.com/office/drawing/2014/main" id="{144174D8-AB87-44C8-ABE2-56DAEB90C5A6}"/>
                </a:ext>
              </a:extLst>
            </p:cNvPr>
            <p:cNvSpPr/>
            <p:nvPr/>
          </p:nvSpPr>
          <p:spPr bwMode="auto">
            <a:xfrm>
              <a:off x="8064446" y="3209476"/>
              <a:ext cx="3744416" cy="3244654"/>
            </a:xfrm>
            <a:prstGeom prst="roundRect">
              <a:avLst/>
            </a:prstGeom>
            <a:noFill/>
            <a:ln w="38100">
              <a:solidFill>
                <a:srgbClr val="07072B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rtlCol="0" anchor="ctr"/>
            <a:lstStyle/>
            <a:p>
              <a:pPr algn="ctr"/>
              <a:endParaRPr lang="fr-CA"/>
            </a:p>
          </p:txBody>
        </p:sp>
        <p:sp>
          <p:nvSpPr>
            <p:cNvPr id="111" name="TextBox 110">
              <a:extLst>
                <a:ext uri="{FF2B5EF4-FFF2-40B4-BE49-F238E27FC236}">
                  <a16:creationId xmlns:a16="http://schemas.microsoft.com/office/drawing/2014/main" id="{9FD0A89E-1DA6-41ED-AF85-E61F4A0A75BE}"/>
                </a:ext>
              </a:extLst>
            </p:cNvPr>
            <p:cNvSpPr txBox="1"/>
            <p:nvPr/>
          </p:nvSpPr>
          <p:spPr>
            <a:xfrm>
              <a:off x="9837907" y="4729761"/>
              <a:ext cx="914400" cy="914400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noAutofit/>
            </a:bodyPr>
            <a:lstStyle/>
            <a:p>
              <a:pPr>
                <a:lnSpc>
                  <a:spcPct val="90000"/>
                </a:lnSpc>
                <a:spcBef>
                  <a:spcPts val="400"/>
                </a:spcBef>
              </a:pPr>
              <a:endParaRPr lang="fr-CA" dirty="0" err="1">
                <a:solidFill>
                  <a:srgbClr val="32323C"/>
                </a:solidFill>
              </a:endParaRPr>
            </a:p>
          </p:txBody>
        </p:sp>
      </p:grpSp>
      <p:sp>
        <p:nvSpPr>
          <p:cNvPr id="112" name="TextBox 111">
            <a:extLst>
              <a:ext uri="{FF2B5EF4-FFF2-40B4-BE49-F238E27FC236}">
                <a16:creationId xmlns:a16="http://schemas.microsoft.com/office/drawing/2014/main" id="{DF7B7B97-C9D3-40D4-862D-90D3F7CD400C}"/>
              </a:ext>
            </a:extLst>
          </p:cNvPr>
          <p:cNvSpPr txBox="1"/>
          <p:nvPr/>
        </p:nvSpPr>
        <p:spPr>
          <a:xfrm>
            <a:off x="592771" y="1629594"/>
            <a:ext cx="719960" cy="28803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algn="ctr">
              <a:lnSpc>
                <a:spcPct val="90000"/>
              </a:lnSpc>
              <a:spcBef>
                <a:spcPts val="400"/>
              </a:spcBef>
            </a:pPr>
            <a:r>
              <a:rPr lang="fr-CA" b="1" dirty="0">
                <a:solidFill>
                  <a:srgbClr val="07072B"/>
                </a:solidFill>
              </a:rPr>
              <a:t>QA</a:t>
            </a:r>
          </a:p>
        </p:txBody>
      </p:sp>
      <p:grpSp>
        <p:nvGrpSpPr>
          <p:cNvPr id="113" name="Group 112">
            <a:extLst>
              <a:ext uri="{FF2B5EF4-FFF2-40B4-BE49-F238E27FC236}">
                <a16:creationId xmlns:a16="http://schemas.microsoft.com/office/drawing/2014/main" id="{85117123-D19B-40E5-AE6A-17BD84115498}"/>
              </a:ext>
            </a:extLst>
          </p:cNvPr>
          <p:cNvGrpSpPr/>
          <p:nvPr/>
        </p:nvGrpSpPr>
        <p:grpSpPr>
          <a:xfrm>
            <a:off x="4152623" y="1925864"/>
            <a:ext cx="3744416" cy="3244654"/>
            <a:chOff x="8064446" y="3209476"/>
            <a:chExt cx="3744416" cy="3244654"/>
          </a:xfrm>
        </p:grpSpPr>
        <p:pic>
          <p:nvPicPr>
            <p:cNvPr id="114" name="Graphic 113" descr="Resource Group">
              <a:extLst>
                <a:ext uri="{FF2B5EF4-FFF2-40B4-BE49-F238E27FC236}">
                  <a16:creationId xmlns:a16="http://schemas.microsoft.com/office/drawing/2014/main" id="{7019C403-3EA1-4081-927C-5DADAB320ECD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9398471" y="3209476"/>
              <a:ext cx="1080000" cy="1080000"/>
            </a:xfrm>
            <a:prstGeom prst="rect">
              <a:avLst/>
            </a:prstGeom>
          </p:spPr>
        </p:pic>
        <p:pic>
          <p:nvPicPr>
            <p:cNvPr id="115" name="Graphic 114" descr="IoT Hub">
              <a:extLst>
                <a:ext uri="{FF2B5EF4-FFF2-40B4-BE49-F238E27FC236}">
                  <a16:creationId xmlns:a16="http://schemas.microsoft.com/office/drawing/2014/main" id="{75D938F0-3AB1-4AED-BBF6-6A93B797478C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10645233" y="4834130"/>
              <a:ext cx="1080000" cy="1080000"/>
            </a:xfrm>
            <a:prstGeom prst="rect">
              <a:avLst/>
            </a:prstGeom>
          </p:spPr>
        </p:pic>
        <p:pic>
          <p:nvPicPr>
            <p:cNvPr id="116" name="Graphic 115" descr="Azure Function">
              <a:extLst>
                <a:ext uri="{FF2B5EF4-FFF2-40B4-BE49-F238E27FC236}">
                  <a16:creationId xmlns:a16="http://schemas.microsoft.com/office/drawing/2014/main" id="{D017E911-6BB9-4FEB-AED5-F030F2B80D42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9383216" y="5374130"/>
              <a:ext cx="1080000" cy="1080000"/>
            </a:xfrm>
            <a:prstGeom prst="rect">
              <a:avLst/>
            </a:prstGeom>
          </p:spPr>
        </p:pic>
        <p:pic>
          <p:nvPicPr>
            <p:cNvPr id="117" name="Graphic 116" descr="Virtual Networks">
              <a:extLst>
                <a:ext uri="{FF2B5EF4-FFF2-40B4-BE49-F238E27FC236}">
                  <a16:creationId xmlns:a16="http://schemas.microsoft.com/office/drawing/2014/main" id="{35C0B020-C4DA-4E6B-BEC3-2F03EB13C52D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9398471" y="4289476"/>
              <a:ext cx="1080000" cy="1080000"/>
            </a:xfrm>
            <a:prstGeom prst="rect">
              <a:avLst/>
            </a:prstGeom>
          </p:spPr>
        </p:pic>
        <p:pic>
          <p:nvPicPr>
            <p:cNvPr id="118" name="Graphic 117" descr="AKS&#10;">
              <a:extLst>
                <a:ext uri="{FF2B5EF4-FFF2-40B4-BE49-F238E27FC236}">
                  <a16:creationId xmlns:a16="http://schemas.microsoft.com/office/drawing/2014/main" id="{1DF94AA7-C451-4149-95B0-DF5F90EDCA80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>
              <a:off x="8136454" y="4834130"/>
              <a:ext cx="1080000" cy="1080000"/>
            </a:xfrm>
            <a:prstGeom prst="rect">
              <a:avLst/>
            </a:prstGeom>
          </p:spPr>
        </p:pic>
        <p:pic>
          <p:nvPicPr>
            <p:cNvPr id="119" name="Graphic 118" descr="App Services">
              <a:extLst>
                <a:ext uri="{FF2B5EF4-FFF2-40B4-BE49-F238E27FC236}">
                  <a16:creationId xmlns:a16="http://schemas.microsoft.com/office/drawing/2014/main" id="{40FAE607-36C2-4D62-B51A-4A2A1998CE39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4"/>
                </a:ext>
              </a:extLst>
            </a:blip>
            <a:stretch>
              <a:fillRect/>
            </a:stretch>
          </p:blipFill>
          <p:spPr>
            <a:xfrm>
              <a:off x="8136454" y="3749476"/>
              <a:ext cx="1080000" cy="1080000"/>
            </a:xfrm>
            <a:prstGeom prst="rect">
              <a:avLst/>
            </a:prstGeom>
          </p:spPr>
        </p:pic>
        <p:pic>
          <p:nvPicPr>
            <p:cNvPr id="120" name="Graphic 119" descr="ADX">
              <a:extLst>
                <a:ext uri="{FF2B5EF4-FFF2-40B4-BE49-F238E27FC236}">
                  <a16:creationId xmlns:a16="http://schemas.microsoft.com/office/drawing/2014/main" id="{3DB9A6FD-771F-42E8-9E86-DE59C62C6D20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6"/>
                </a:ext>
              </a:extLst>
            </a:blip>
            <a:stretch>
              <a:fillRect/>
            </a:stretch>
          </p:blipFill>
          <p:spPr>
            <a:xfrm>
              <a:off x="10656734" y="3749476"/>
              <a:ext cx="1080000" cy="1080000"/>
            </a:xfrm>
            <a:prstGeom prst="rect">
              <a:avLst/>
            </a:prstGeom>
          </p:spPr>
        </p:pic>
        <p:sp>
          <p:nvSpPr>
            <p:cNvPr id="121" name="Rectangle: Rounded Corners 120">
              <a:extLst>
                <a:ext uri="{FF2B5EF4-FFF2-40B4-BE49-F238E27FC236}">
                  <a16:creationId xmlns:a16="http://schemas.microsoft.com/office/drawing/2014/main" id="{FA20CCD3-1814-4FF5-B46B-805C44D80C72}"/>
                </a:ext>
              </a:extLst>
            </p:cNvPr>
            <p:cNvSpPr/>
            <p:nvPr/>
          </p:nvSpPr>
          <p:spPr bwMode="auto">
            <a:xfrm>
              <a:off x="8064446" y="3209476"/>
              <a:ext cx="3744416" cy="3244654"/>
            </a:xfrm>
            <a:prstGeom prst="roundRect">
              <a:avLst/>
            </a:prstGeom>
            <a:noFill/>
            <a:ln w="38100">
              <a:solidFill>
                <a:srgbClr val="07072B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rtlCol="0" anchor="ctr"/>
            <a:lstStyle/>
            <a:p>
              <a:pPr algn="ctr"/>
              <a:endParaRPr lang="fr-CA"/>
            </a:p>
          </p:txBody>
        </p:sp>
        <p:sp>
          <p:nvSpPr>
            <p:cNvPr id="122" name="TextBox 121">
              <a:extLst>
                <a:ext uri="{FF2B5EF4-FFF2-40B4-BE49-F238E27FC236}">
                  <a16:creationId xmlns:a16="http://schemas.microsoft.com/office/drawing/2014/main" id="{084E2ADF-6B65-4835-BF19-A9A04C879A29}"/>
                </a:ext>
              </a:extLst>
            </p:cNvPr>
            <p:cNvSpPr txBox="1"/>
            <p:nvPr/>
          </p:nvSpPr>
          <p:spPr>
            <a:xfrm>
              <a:off x="9837907" y="4729761"/>
              <a:ext cx="914400" cy="914400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noAutofit/>
            </a:bodyPr>
            <a:lstStyle/>
            <a:p>
              <a:pPr>
                <a:lnSpc>
                  <a:spcPct val="90000"/>
                </a:lnSpc>
                <a:spcBef>
                  <a:spcPts val="400"/>
                </a:spcBef>
              </a:pPr>
              <a:endParaRPr lang="fr-CA" dirty="0" err="1">
                <a:solidFill>
                  <a:srgbClr val="32323C"/>
                </a:solidFill>
              </a:endParaRPr>
            </a:p>
          </p:txBody>
        </p:sp>
      </p:grpSp>
      <p:sp>
        <p:nvSpPr>
          <p:cNvPr id="123" name="TextBox 122">
            <a:extLst>
              <a:ext uri="{FF2B5EF4-FFF2-40B4-BE49-F238E27FC236}">
                <a16:creationId xmlns:a16="http://schemas.microsoft.com/office/drawing/2014/main" id="{7955EF02-A229-49A8-AD9D-063745437307}"/>
              </a:ext>
            </a:extLst>
          </p:cNvPr>
          <p:cNvSpPr txBox="1"/>
          <p:nvPr/>
        </p:nvSpPr>
        <p:spPr>
          <a:xfrm>
            <a:off x="4429088" y="1637832"/>
            <a:ext cx="814671" cy="28803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algn="ctr">
              <a:lnSpc>
                <a:spcPct val="90000"/>
              </a:lnSpc>
              <a:spcBef>
                <a:spcPts val="400"/>
              </a:spcBef>
            </a:pPr>
            <a:r>
              <a:rPr lang="fr-CA" b="1" dirty="0">
                <a:solidFill>
                  <a:srgbClr val="07072B"/>
                </a:solidFill>
              </a:rPr>
              <a:t>PROD</a:t>
            </a:r>
          </a:p>
        </p:txBody>
      </p:sp>
    </p:spTree>
    <p:extLst>
      <p:ext uri="{BB962C8B-B14F-4D97-AF65-F5344CB8AC3E}">
        <p14:creationId xmlns:p14="http://schemas.microsoft.com/office/powerpoint/2010/main" val="37773361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mc:AlternateContent xmlns:mc="http://schemas.openxmlformats.org/markup-compatibility/2006" xmlns:p14="http://schemas.microsoft.com/office/powerpoint/2010/main">
    <mc:Choice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1" accel="40000" fill="hold" nodeType="withEffect" p14:presetBounceEnd="3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30000">
                                          <p:cBhvr additive="base">
                                            <p:cTn id="7" dur="500" fill="hold"/>
                                            <p:tgtEl>
                                              <p:spTgt spid="25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30000">
                                          <p:cBhvr additive="base">
                                            <p:cTn id="8" dur="500" fill="hold"/>
                                            <p:tgtEl>
                                              <p:spTgt spid="25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9" fill="hold">
                                <p:stCondLst>
                                  <p:cond delay="500"/>
                                </p:stCondLst>
                                <p:childTnLst>
                                  <p:par>
                                    <p:cTn id="10" presetID="2" presetClass="entr" presetSubtype="3" fill="hold" nodeType="afterEffect" p14:presetBounceEnd="40000">
                                      <p:stCondLst>
                                        <p:cond delay="200"/>
                                      </p:stCondLst>
                                      <p:childTnLst>
                                        <p:set>
                                          <p:cBhvr>
                                            <p:cTn id="1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40000">
                                          <p:cBhvr additive="base">
                                            <p:cTn id="12" dur="500" fill="hold"/>
                                            <p:tgtEl>
                                              <p:spTgt spid="57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40000">
                                          <p:cBhvr additive="base">
                                            <p:cTn id="13" dur="500" fill="hold"/>
                                            <p:tgtEl>
                                              <p:spTgt spid="57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14" fill="hold">
                                <p:stCondLst>
                                  <p:cond delay="1200"/>
                                </p:stCondLst>
                                <p:childTnLst>
                                  <p:par>
                                    <p:cTn id="15" presetID="2" presetClass="entr" presetSubtype="9" fill="hold" nodeType="afterEffect" p14:presetBounceEnd="40000">
                                      <p:stCondLst>
                                        <p:cond delay="200"/>
                                      </p:stCondLst>
                                      <p:childTnLst>
                                        <p:set>
                                          <p:cBhvr>
                                            <p:cTn id="1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40000">
                                          <p:cBhvr additive="base">
                                            <p:cTn id="17" dur="500" fill="hold"/>
                                            <p:tgtEl>
                                              <p:spTgt spid="53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40000">
                                          <p:cBhvr additive="base">
                                            <p:cTn id="18" dur="500" fill="hold"/>
                                            <p:tgtEl>
                                              <p:spTgt spid="53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19" fill="hold">
                                <p:stCondLst>
                                  <p:cond delay="1900"/>
                                </p:stCondLst>
                                <p:childTnLst>
                                  <p:par>
                                    <p:cTn id="20" presetID="2" presetClass="entr" presetSubtype="4" fill="hold" nodeType="afterEffect" p14:presetBounceEnd="40000">
                                      <p:stCondLst>
                                        <p:cond delay="200"/>
                                      </p:stCondLst>
                                      <p:childTnLst>
                                        <p:set>
                                          <p:cBhvr>
                                            <p:cTn id="2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40000">
                                          <p:cBhvr additive="base">
                                            <p:cTn id="22" dur="500" fill="hold"/>
                                            <p:tgtEl>
                                              <p:spTgt spid="43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40000">
                                          <p:cBhvr additive="base">
                                            <p:cTn id="23" dur="500" fill="hold"/>
                                            <p:tgtEl>
                                              <p:spTgt spid="43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24" fill="hold">
                                <p:stCondLst>
                                  <p:cond delay="2600"/>
                                </p:stCondLst>
                                <p:childTnLst>
                                  <p:par>
                                    <p:cTn id="25" presetID="2" presetClass="entr" presetSubtype="12" fill="hold" nodeType="afterEffect" p14:presetBounceEnd="40000">
                                      <p:stCondLst>
                                        <p:cond delay="200"/>
                                      </p:stCondLst>
                                      <p:childTnLst>
                                        <p:set>
                                          <p:cBhvr>
                                            <p:cTn id="2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40000">
                                          <p:cBhvr additive="base">
                                            <p:cTn id="27" dur="500" fill="hold"/>
                                            <p:tgtEl>
                                              <p:spTgt spid="49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40000">
                                          <p:cBhvr additive="base">
                                            <p:cTn id="28" dur="500" fill="hold"/>
                                            <p:tgtEl>
                                              <p:spTgt spid="49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29" fill="hold">
                                <p:stCondLst>
                                  <p:cond delay="3300"/>
                                </p:stCondLst>
                                <p:childTnLst>
                                  <p:par>
                                    <p:cTn id="30" presetID="2" presetClass="entr" presetSubtype="6" fill="hold" nodeType="afterEffect" p14:presetBounceEnd="40000">
                                      <p:stCondLst>
                                        <p:cond delay="200"/>
                                      </p:stCondLst>
                                      <p:childTnLst>
                                        <p:set>
                                          <p:cBhvr>
                                            <p:cTn id="3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40000">
                                          <p:cBhvr additive="base">
                                            <p:cTn id="32" dur="500" fill="hold"/>
                                            <p:tgtEl>
                                              <p:spTgt spid="27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40000">
                                          <p:cBhvr additive="base">
                                            <p:cTn id="33" dur="500" fill="hold"/>
                                            <p:tgtEl>
                                              <p:spTgt spid="27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34" fill="hold">
                                <p:stCondLst>
                                  <p:cond delay="4000"/>
                                </p:stCondLst>
                                <p:childTnLst>
                                  <p:par>
                                    <p:cTn id="35" presetID="2" presetClass="entr" presetSubtype="4" fill="hold" nodeType="afterEffect" p14:presetBounceEnd="40000">
                                      <p:stCondLst>
                                        <p:cond delay="200"/>
                                      </p:stCondLst>
                                      <p:childTnLst>
                                        <p:set>
                                          <p:cBhvr>
                                            <p:cTn id="3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40000">
                                          <p:cBhvr additive="base">
                                            <p:cTn id="37" dur="500" fill="hold"/>
                                            <p:tgtEl>
                                              <p:spTgt spid="29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40000">
                                          <p:cBhvr additive="base">
                                            <p:cTn id="38" dur="500" fill="hold"/>
                                            <p:tgtEl>
                                              <p:spTgt spid="29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39" fill="hold">
                                <p:stCondLst>
                                  <p:cond delay="4700"/>
                                </p:stCondLst>
                                <p:childTnLst>
                                  <p:par>
                                    <p:cTn id="40" presetID="21" presetClass="entr" presetSubtype="1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4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70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heel(1)">
                                          <p:cBhvr>
                                            <p:cTn id="42" dur="1000"/>
                                            <p:tgtEl>
                                              <p:spTgt spid="70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  <p:par>
                        <p:cTn id="43" fill="hold">
                          <p:stCondLst>
                            <p:cond delay="indefinite"/>
                          </p:stCondLst>
                          <p:childTnLst>
                            <p:par>
                              <p:cTn id="4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45" presetID="1" presetClass="entr" presetSubtype="0" fill="hold" grpId="0" nodeType="click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4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7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</p:childTnLst>
                                    </p:cTn>
                                  </p:par>
                                  <p:par>
                                    <p:cTn id="47" presetID="1" presetClass="exit" presetSubtype="0" fill="hold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48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hidden"/>
                                          </p:to>
                                        </p:set>
                                      </p:childTnLst>
                                    </p:cTn>
                                  </p:par>
                                  <p:par>
                                    <p:cTn id="49" presetID="1" presetClass="exit" presetSubtype="0" fill="hold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5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hidden"/>
                                          </p:to>
                                        </p:set>
                                      </p:childTnLst>
                                    </p:cTn>
                                  </p:par>
                                  <p:par>
                                    <p:cTn id="51" presetID="1" presetClass="exit" presetSubtype="0" fill="hold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52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hidden"/>
                                          </p:to>
                                        </p:set>
                                      </p:childTnLst>
                                    </p:cTn>
                                  </p:par>
                                  <p:par>
                                    <p:cTn id="53" presetID="1" presetClass="exit" presetSubtype="0" fill="hold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5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hidden"/>
                                          </p:to>
                                        </p:set>
                                      </p:childTnLst>
                                    </p:cTn>
                                  </p:par>
                                  <p:par>
                                    <p:cTn id="55" presetID="1" presetClass="exit" presetSubtype="0" fill="hold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5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hidden"/>
                                          </p:to>
                                        </p:set>
                                      </p:childTnLst>
                                    </p:cTn>
                                  </p:par>
                                  <p:par>
                                    <p:cTn id="57" presetID="1" presetClass="exit" presetSubtype="0" fill="hold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58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hidden"/>
                                          </p:to>
                                        </p:set>
                                      </p:childTnLst>
                                    </p:cTn>
                                  </p:par>
                                  <p:par>
                                    <p:cTn id="59" presetID="1" presetClass="exit" presetSubtype="0" fill="hold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hidden"/>
                                          </p:to>
                                        </p:set>
                                      </p:childTnLst>
                                    </p:cTn>
                                  </p:par>
                                  <p:par>
                                    <p:cTn id="61" presetID="1" presetClass="exit" presetSubtype="0" fill="hold" grpId="1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2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70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hidden"/>
                                          </p:to>
                                        </p:set>
                                      </p:childTnLst>
                                    </p:cTn>
                                  </p:par>
                                  <p:par>
                                    <p:cTn id="63" presetID="1" presetClass="exit" presetSubtype="0" fill="hold" grpId="0" nodeType="withEffect" nodePh="1">
                                      <p:stCondLst>
                                        <p:cond delay="0"/>
                                      </p:stCondLst>
                                      <p:endCondLst>
                                        <p:cond evt="begin" delay="0">
                                          <p:tn val="63"/>
                                        </p:cond>
                                      </p:endCondLst>
                                      <p:childTnLst>
                                        <p:set>
                                          <p:cBhvr>
                                            <p:cTn id="6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71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hidden"/>
                                          </p:to>
                                        </p:set>
                                      </p:childTnLst>
                                    </p:cTn>
                                  </p:par>
                                  <p:par>
                                    <p:cTn id="65" presetID="1" presetClass="entr" presetSubtype="0" fill="hold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8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67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68" presetID="35" presetClass="path" presetSubtype="0" accel="50000" decel="50000" fill="hold" grpId="1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animMotion origin="layout" path="M -1.7886E-6 -3.74219E-6 L -0.30122 -3.74219E-6 " pathEditMode="relative" rAng="0" ptsTypes="AA">
                                          <p:cBhvr>
                                            <p:cTn id="69" dur="2000" fill="hold"/>
                                            <p:tgtEl>
                                              <p:spTgt spid="72"/>
                                            </p:tgtEl>
                                            <p:attrNameLst>
                                              <p:attrName>ppt_x</p:attrName>
                                              <p:attrName>ppt_y</p:attrName>
                                            </p:attrNameLst>
                                          </p:cBhvr>
                                          <p:rCtr x="-15061" y="0"/>
                                        </p:animMotion>
                                      </p:childTnLst>
                                    </p:cTn>
                                  </p:par>
                                  <p:par>
                                    <p:cTn id="70" presetID="35" presetClass="path" presetSubtype="0" accel="50000" decel="50000" fill="hold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animMotion origin="layout" path="M 1.16636E-6 2.71002E-6 L -0.29992 2.71002E-6 " pathEditMode="relative" rAng="0" ptsTypes="AA">
                                          <p:cBhvr>
                                            <p:cTn id="71" dur="2000" fill="hold"/>
                                            <p:tgtEl>
                                              <p:spTgt spid="83"/>
                                            </p:tgtEl>
                                            <p:attrNameLst>
                                              <p:attrName>ppt_x</p:attrName>
                                              <p:attrName>ppt_y</p:attrName>
                                            </p:attrNameLst>
                                          </p:cBhvr>
                                          <p:rCtr x="-14996" y="0"/>
                                        </p:animMotion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72" fill="hold">
                                <p:stCondLst>
                                  <p:cond delay="2000"/>
                                </p:stCondLst>
                                <p:childTnLst>
                                  <p:par>
                                    <p:cTn id="73" presetID="1" presetClass="entr" presetSubtype="0" fill="hold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7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0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</p:childTnLst>
                                    </p:cTn>
                                  </p:par>
                                  <p:par>
                                    <p:cTn id="75" presetID="63" presetClass="path" presetSubtype="0" accel="50000" decel="50000" fill="hold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animMotion origin="layout" path="M 3.0617E-6 2.71002E-6 L 0.32478 2.71002E-6 " pathEditMode="relative" rAng="0" ptsTypes="AA">
                                          <p:cBhvr>
                                            <p:cTn id="76" dur="2000" fill="hold"/>
                                            <p:tgtEl>
                                              <p:spTgt spid="102"/>
                                            </p:tgtEl>
                                            <p:attrNameLst>
                                              <p:attrName>ppt_x</p:attrName>
                                              <p:attrName>ppt_y</p:attrName>
                                            </p:attrNameLst>
                                          </p:cBhvr>
                                          <p:rCtr x="16233" y="0"/>
                                        </p:animMotion>
                                      </p:childTnLst>
                                    </p:cTn>
                                  </p:par>
                                  <p:par>
                                    <p:cTn id="77" presetID="10" presetClass="entr" presetSubtype="0" fill="hold" grpId="0" nodeType="withEffect">
                                      <p:stCondLst>
                                        <p:cond delay="500"/>
                                      </p:stCondLst>
                                      <p:childTnLst>
                                        <p:set>
                                          <p:cBhvr>
                                            <p:cTn id="78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1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79" dur="1000"/>
                                            <p:tgtEl>
                                              <p:spTgt spid="112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80" presetID="63" presetClass="path" presetSubtype="0" accel="50000" decel="50000" fill="hold" grpId="1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animMotion origin="layout" path="M -4.66024E-6 4.82527E-6 L 0.32739 4.82527E-6 " pathEditMode="relative" rAng="0" ptsTypes="AA">
                                          <p:cBhvr>
                                            <p:cTn id="81" dur="2000" fill="hold"/>
                                            <p:tgtEl>
                                              <p:spTgt spid="112"/>
                                            </p:tgtEl>
                                            <p:attrNameLst>
                                              <p:attrName>ppt_x</p:attrName>
                                              <p:attrName>ppt_y</p:attrName>
                                            </p:attrNameLst>
                                          </p:cBhvr>
                                          <p:rCtr x="16363" y="0"/>
                                        </p:animMotion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82" fill="hold">
                                <p:stCondLst>
                                  <p:cond delay="4000"/>
                                </p:stCondLst>
                                <p:childTnLst>
                                  <p:par>
                                    <p:cTn id="83" presetID="1" presetClass="entr" presetSubtype="0" fill="hold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8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1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</p:childTnLst>
                                    </p:cTn>
                                  </p:par>
                                  <p:par>
                                    <p:cTn id="85" presetID="63" presetClass="path" presetSubtype="0" accel="50000" decel="50000" fill="hold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animMotion origin="layout" path="M -1.97605E-6 -1.57834E-6 L 0.32479 -1.57834E-6 " pathEditMode="relative" rAng="0" ptsTypes="AA">
                                          <p:cBhvr>
                                            <p:cTn id="86" dur="2000" fill="hold"/>
                                            <p:tgtEl>
                                              <p:spTgt spid="113"/>
                                            </p:tgtEl>
                                            <p:attrNameLst>
                                              <p:attrName>ppt_x</p:attrName>
                                              <p:attrName>ppt_y</p:attrName>
                                            </p:attrNameLst>
                                          </p:cBhvr>
                                          <p:rCtr x="16233" y="0"/>
                                        </p:animMotion>
                                      </p:childTnLst>
                                    </p:cTn>
                                  </p:par>
                                  <p:par>
                                    <p:cTn id="87" presetID="10" presetClass="entr" presetSubtype="0" fill="hold" grpId="0" nodeType="withEffect">
                                      <p:stCondLst>
                                        <p:cond delay="500"/>
                                      </p:stCondLst>
                                      <p:childTnLst>
                                        <p:set>
                                          <p:cBhvr>
                                            <p:cTn id="88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2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89" dur="1000"/>
                                            <p:tgtEl>
                                              <p:spTgt spid="123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90" presetID="63" presetClass="path" presetSubtype="0" accel="50000" decel="50000" fill="hold" grpId="1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animMotion origin="layout" path="M 0.04153 -0.00115 L 0.35759 -0.00115 " pathEditMode="relative" rAng="0" ptsTypes="AA">
                                          <p:cBhvr>
                                            <p:cTn id="91" dur="2000" fill="hold"/>
                                            <p:tgtEl>
                                              <p:spTgt spid="123"/>
                                            </p:tgtEl>
                                            <p:attrNameLst>
                                              <p:attrName>ppt_x</p:attrName>
                                              <p:attrName>ppt_y</p:attrName>
                                            </p:attrNameLst>
                                          </p:cBhvr>
                                          <p:rCtr x="15803" y="0"/>
                                        </p:animMotion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70" grpId="0" animBg="1"/>
          <p:bldP spid="70" grpId="1" animBg="1"/>
          <p:bldP spid="71" grpId="0"/>
          <p:bldP spid="72" grpId="0"/>
          <p:bldP spid="72" grpId="1"/>
          <p:bldP spid="112" grpId="0"/>
          <p:bldP spid="112" grpId="1"/>
          <p:bldP spid="123" grpId="0"/>
          <p:bldP spid="123" grpId="1"/>
        </p:bldLst>
      </p:timing>
    </mc:Choice>
    <mc:Fallback xmlns="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1" accel="40000" fill="hold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7" dur="500" fill="hold"/>
                                            <p:tgtEl>
                                              <p:spTgt spid="25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8" dur="500" fill="hold"/>
                                            <p:tgtEl>
                                              <p:spTgt spid="25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9" fill="hold">
                                <p:stCondLst>
                                  <p:cond delay="500"/>
                                </p:stCondLst>
                                <p:childTnLst>
                                  <p:par>
                                    <p:cTn id="10" presetID="2" presetClass="entr" presetSubtype="3" fill="hold" nodeType="afterEffect">
                                      <p:stCondLst>
                                        <p:cond delay="200"/>
                                      </p:stCondLst>
                                      <p:childTnLst>
                                        <p:set>
                                          <p:cBhvr>
                                            <p:cTn id="1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2" dur="500" fill="hold"/>
                                            <p:tgtEl>
                                              <p:spTgt spid="57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3" dur="500" fill="hold"/>
                                            <p:tgtEl>
                                              <p:spTgt spid="57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14" fill="hold">
                                <p:stCondLst>
                                  <p:cond delay="1200"/>
                                </p:stCondLst>
                                <p:childTnLst>
                                  <p:par>
                                    <p:cTn id="15" presetID="2" presetClass="entr" presetSubtype="9" fill="hold" nodeType="afterEffect">
                                      <p:stCondLst>
                                        <p:cond delay="200"/>
                                      </p:stCondLst>
                                      <p:childTnLst>
                                        <p:set>
                                          <p:cBhvr>
                                            <p:cTn id="1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7" dur="500" fill="hold"/>
                                            <p:tgtEl>
                                              <p:spTgt spid="53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8" dur="500" fill="hold"/>
                                            <p:tgtEl>
                                              <p:spTgt spid="53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19" fill="hold">
                                <p:stCondLst>
                                  <p:cond delay="1900"/>
                                </p:stCondLst>
                                <p:childTnLst>
                                  <p:par>
                                    <p:cTn id="20" presetID="2" presetClass="entr" presetSubtype="4" fill="hold" nodeType="afterEffect">
                                      <p:stCondLst>
                                        <p:cond delay="200"/>
                                      </p:stCondLst>
                                      <p:childTnLst>
                                        <p:set>
                                          <p:cBhvr>
                                            <p:cTn id="2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22" dur="500" fill="hold"/>
                                            <p:tgtEl>
                                              <p:spTgt spid="43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23" dur="500" fill="hold"/>
                                            <p:tgtEl>
                                              <p:spTgt spid="43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24" fill="hold">
                                <p:stCondLst>
                                  <p:cond delay="2600"/>
                                </p:stCondLst>
                                <p:childTnLst>
                                  <p:par>
                                    <p:cTn id="25" presetID="2" presetClass="entr" presetSubtype="12" fill="hold" nodeType="afterEffect">
                                      <p:stCondLst>
                                        <p:cond delay="200"/>
                                      </p:stCondLst>
                                      <p:childTnLst>
                                        <p:set>
                                          <p:cBhvr>
                                            <p:cTn id="2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27" dur="500" fill="hold"/>
                                            <p:tgtEl>
                                              <p:spTgt spid="49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28" dur="500" fill="hold"/>
                                            <p:tgtEl>
                                              <p:spTgt spid="49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29" fill="hold">
                                <p:stCondLst>
                                  <p:cond delay="3300"/>
                                </p:stCondLst>
                                <p:childTnLst>
                                  <p:par>
                                    <p:cTn id="30" presetID="2" presetClass="entr" presetSubtype="6" fill="hold" nodeType="afterEffect">
                                      <p:stCondLst>
                                        <p:cond delay="200"/>
                                      </p:stCondLst>
                                      <p:childTnLst>
                                        <p:set>
                                          <p:cBhvr>
                                            <p:cTn id="3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32" dur="500" fill="hold"/>
                                            <p:tgtEl>
                                              <p:spTgt spid="27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33" dur="500" fill="hold"/>
                                            <p:tgtEl>
                                              <p:spTgt spid="27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34" fill="hold">
                                <p:stCondLst>
                                  <p:cond delay="4000"/>
                                </p:stCondLst>
                                <p:childTnLst>
                                  <p:par>
                                    <p:cTn id="35" presetID="2" presetClass="entr" presetSubtype="4" fill="hold" nodeType="afterEffect">
                                      <p:stCondLst>
                                        <p:cond delay="200"/>
                                      </p:stCondLst>
                                      <p:childTnLst>
                                        <p:set>
                                          <p:cBhvr>
                                            <p:cTn id="3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37" dur="500" fill="hold"/>
                                            <p:tgtEl>
                                              <p:spTgt spid="29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38" dur="500" fill="hold"/>
                                            <p:tgtEl>
                                              <p:spTgt spid="29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39" fill="hold">
                                <p:stCondLst>
                                  <p:cond delay="4700"/>
                                </p:stCondLst>
                                <p:childTnLst>
                                  <p:par>
                                    <p:cTn id="40" presetID="21" presetClass="entr" presetSubtype="1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4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70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heel(1)">
                                          <p:cBhvr>
                                            <p:cTn id="42" dur="1000"/>
                                            <p:tgtEl>
                                              <p:spTgt spid="70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  <p:par>
                        <p:cTn id="43" fill="hold">
                          <p:stCondLst>
                            <p:cond delay="indefinite"/>
                          </p:stCondLst>
                          <p:childTnLst>
                            <p:par>
                              <p:cTn id="4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45" presetID="1" presetClass="entr" presetSubtype="0" fill="hold" grpId="0" nodeType="click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4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7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</p:childTnLst>
                                    </p:cTn>
                                  </p:par>
                                  <p:par>
                                    <p:cTn id="47" presetID="1" presetClass="exit" presetSubtype="0" fill="hold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48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hidden"/>
                                          </p:to>
                                        </p:set>
                                      </p:childTnLst>
                                    </p:cTn>
                                  </p:par>
                                  <p:par>
                                    <p:cTn id="49" presetID="1" presetClass="exit" presetSubtype="0" fill="hold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5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hidden"/>
                                          </p:to>
                                        </p:set>
                                      </p:childTnLst>
                                    </p:cTn>
                                  </p:par>
                                  <p:par>
                                    <p:cTn id="51" presetID="1" presetClass="exit" presetSubtype="0" fill="hold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52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hidden"/>
                                          </p:to>
                                        </p:set>
                                      </p:childTnLst>
                                    </p:cTn>
                                  </p:par>
                                  <p:par>
                                    <p:cTn id="53" presetID="1" presetClass="exit" presetSubtype="0" fill="hold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5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hidden"/>
                                          </p:to>
                                        </p:set>
                                      </p:childTnLst>
                                    </p:cTn>
                                  </p:par>
                                  <p:par>
                                    <p:cTn id="55" presetID="1" presetClass="exit" presetSubtype="0" fill="hold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5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hidden"/>
                                          </p:to>
                                        </p:set>
                                      </p:childTnLst>
                                    </p:cTn>
                                  </p:par>
                                  <p:par>
                                    <p:cTn id="57" presetID="1" presetClass="exit" presetSubtype="0" fill="hold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58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hidden"/>
                                          </p:to>
                                        </p:set>
                                      </p:childTnLst>
                                    </p:cTn>
                                  </p:par>
                                  <p:par>
                                    <p:cTn id="59" presetID="1" presetClass="exit" presetSubtype="0" fill="hold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hidden"/>
                                          </p:to>
                                        </p:set>
                                      </p:childTnLst>
                                    </p:cTn>
                                  </p:par>
                                  <p:par>
                                    <p:cTn id="61" presetID="1" presetClass="exit" presetSubtype="0" fill="hold" grpId="1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2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70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hidden"/>
                                          </p:to>
                                        </p:set>
                                      </p:childTnLst>
                                    </p:cTn>
                                  </p:par>
                                  <p:par>
                                    <p:cTn id="63" presetID="1" presetClass="exit" presetSubtype="0" fill="hold" grpId="0" nodeType="withEffect" nodePh="1">
                                      <p:stCondLst>
                                        <p:cond delay="0"/>
                                      </p:stCondLst>
                                      <p:endCondLst>
                                        <p:cond evt="begin" delay="0">
                                          <p:tn val="63"/>
                                        </p:cond>
                                      </p:endCondLst>
                                      <p:childTnLst>
                                        <p:set>
                                          <p:cBhvr>
                                            <p:cTn id="6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71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hidden"/>
                                          </p:to>
                                        </p:set>
                                      </p:childTnLst>
                                    </p:cTn>
                                  </p:par>
                                  <p:par>
                                    <p:cTn id="65" presetID="1" presetClass="entr" presetSubtype="0" fill="hold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8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67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68" presetID="35" presetClass="path" presetSubtype="0" accel="50000" decel="50000" fill="hold" grpId="1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animMotion origin="layout" path="M -1.7886E-6 -3.74219E-6 L -0.30122 -3.74219E-6 " pathEditMode="relative" rAng="0" ptsTypes="AA">
                                          <p:cBhvr>
                                            <p:cTn id="69" dur="2000" fill="hold"/>
                                            <p:tgtEl>
                                              <p:spTgt spid="72"/>
                                            </p:tgtEl>
                                            <p:attrNameLst>
                                              <p:attrName>ppt_x</p:attrName>
                                              <p:attrName>ppt_y</p:attrName>
                                            </p:attrNameLst>
                                          </p:cBhvr>
                                          <p:rCtr x="-15061" y="0"/>
                                        </p:animMotion>
                                      </p:childTnLst>
                                    </p:cTn>
                                  </p:par>
                                  <p:par>
                                    <p:cTn id="70" presetID="35" presetClass="path" presetSubtype="0" accel="50000" decel="50000" fill="hold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animMotion origin="layout" path="M 1.16636E-6 2.71002E-6 L -0.29992 2.71002E-6 " pathEditMode="relative" rAng="0" ptsTypes="AA">
                                          <p:cBhvr>
                                            <p:cTn id="71" dur="2000" fill="hold"/>
                                            <p:tgtEl>
                                              <p:spTgt spid="83"/>
                                            </p:tgtEl>
                                            <p:attrNameLst>
                                              <p:attrName>ppt_x</p:attrName>
                                              <p:attrName>ppt_y</p:attrName>
                                            </p:attrNameLst>
                                          </p:cBhvr>
                                          <p:rCtr x="-14996" y="0"/>
                                        </p:animMotion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72" fill="hold">
                                <p:stCondLst>
                                  <p:cond delay="2000"/>
                                </p:stCondLst>
                                <p:childTnLst>
                                  <p:par>
                                    <p:cTn id="73" presetID="1" presetClass="entr" presetSubtype="0" fill="hold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7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0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</p:childTnLst>
                                    </p:cTn>
                                  </p:par>
                                  <p:par>
                                    <p:cTn id="75" presetID="63" presetClass="path" presetSubtype="0" accel="50000" decel="50000" fill="hold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animMotion origin="layout" path="M 3.0617E-6 2.71002E-6 L 0.32478 2.71002E-6 " pathEditMode="relative" rAng="0" ptsTypes="AA">
                                          <p:cBhvr>
                                            <p:cTn id="76" dur="2000" fill="hold"/>
                                            <p:tgtEl>
                                              <p:spTgt spid="102"/>
                                            </p:tgtEl>
                                            <p:attrNameLst>
                                              <p:attrName>ppt_x</p:attrName>
                                              <p:attrName>ppt_y</p:attrName>
                                            </p:attrNameLst>
                                          </p:cBhvr>
                                          <p:rCtr x="16233" y="0"/>
                                        </p:animMotion>
                                      </p:childTnLst>
                                    </p:cTn>
                                  </p:par>
                                  <p:par>
                                    <p:cTn id="77" presetID="10" presetClass="entr" presetSubtype="0" fill="hold" grpId="0" nodeType="withEffect">
                                      <p:stCondLst>
                                        <p:cond delay="500"/>
                                      </p:stCondLst>
                                      <p:childTnLst>
                                        <p:set>
                                          <p:cBhvr>
                                            <p:cTn id="78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1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79" dur="1000"/>
                                            <p:tgtEl>
                                              <p:spTgt spid="112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80" presetID="63" presetClass="path" presetSubtype="0" accel="50000" decel="50000" fill="hold" grpId="1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animMotion origin="layout" path="M -4.66024E-6 4.82527E-6 L 0.32739 4.82527E-6 " pathEditMode="relative" rAng="0" ptsTypes="AA">
                                          <p:cBhvr>
                                            <p:cTn id="81" dur="2000" fill="hold"/>
                                            <p:tgtEl>
                                              <p:spTgt spid="112"/>
                                            </p:tgtEl>
                                            <p:attrNameLst>
                                              <p:attrName>ppt_x</p:attrName>
                                              <p:attrName>ppt_y</p:attrName>
                                            </p:attrNameLst>
                                          </p:cBhvr>
                                          <p:rCtr x="16363" y="0"/>
                                        </p:animMotion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82" fill="hold">
                                <p:stCondLst>
                                  <p:cond delay="4000"/>
                                </p:stCondLst>
                                <p:childTnLst>
                                  <p:par>
                                    <p:cTn id="83" presetID="1" presetClass="entr" presetSubtype="0" fill="hold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8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1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</p:childTnLst>
                                    </p:cTn>
                                  </p:par>
                                  <p:par>
                                    <p:cTn id="85" presetID="63" presetClass="path" presetSubtype="0" accel="50000" decel="50000" fill="hold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animMotion origin="layout" path="M -1.97605E-6 -1.57834E-6 L 0.32479 -1.57834E-6 " pathEditMode="relative" rAng="0" ptsTypes="AA">
                                          <p:cBhvr>
                                            <p:cTn id="86" dur="2000" fill="hold"/>
                                            <p:tgtEl>
                                              <p:spTgt spid="113"/>
                                            </p:tgtEl>
                                            <p:attrNameLst>
                                              <p:attrName>ppt_x</p:attrName>
                                              <p:attrName>ppt_y</p:attrName>
                                            </p:attrNameLst>
                                          </p:cBhvr>
                                          <p:rCtr x="16233" y="0"/>
                                        </p:animMotion>
                                      </p:childTnLst>
                                    </p:cTn>
                                  </p:par>
                                  <p:par>
                                    <p:cTn id="87" presetID="10" presetClass="entr" presetSubtype="0" fill="hold" grpId="0" nodeType="withEffect">
                                      <p:stCondLst>
                                        <p:cond delay="500"/>
                                      </p:stCondLst>
                                      <p:childTnLst>
                                        <p:set>
                                          <p:cBhvr>
                                            <p:cTn id="88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2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89" dur="1000"/>
                                            <p:tgtEl>
                                              <p:spTgt spid="123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90" presetID="63" presetClass="path" presetSubtype="0" accel="50000" decel="50000" fill="hold" grpId="1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animMotion origin="layout" path="M 0.04153 -0.00115 L 0.35759 -0.00115 " pathEditMode="relative" rAng="0" ptsTypes="AA">
                                          <p:cBhvr>
                                            <p:cTn id="91" dur="2000" fill="hold"/>
                                            <p:tgtEl>
                                              <p:spTgt spid="123"/>
                                            </p:tgtEl>
                                            <p:attrNameLst>
                                              <p:attrName>ppt_x</p:attrName>
                                              <p:attrName>ppt_y</p:attrName>
                                            </p:attrNameLst>
                                          </p:cBhvr>
                                          <p:rCtr x="15803" y="0"/>
                                        </p:animMotion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70" grpId="0" animBg="1"/>
          <p:bldP spid="70" grpId="1" animBg="1"/>
          <p:bldP spid="71" grpId="0"/>
          <p:bldP spid="72" grpId="0"/>
          <p:bldP spid="72" grpId="1"/>
          <p:bldP spid="112" grpId="0"/>
          <p:bldP spid="112" grpId="1"/>
          <p:bldP spid="123" grpId="0"/>
          <p:bldP spid="123" grpId="1"/>
        </p:bldLst>
      </p:timing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2601D27-BEC9-4BB3-8897-261237B3E35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algn="r">
              <a:defRPr/>
            </a:pPr>
            <a:fld id="{BC240EC6-B97B-449A-9055-D713C252FD31}" type="slidenum">
              <a:rPr lang="fr-CA" altLang="fr-FR" smtClean="0"/>
              <a:pPr algn="r">
                <a:defRPr/>
              </a:pPr>
              <a:t>8</a:t>
            </a:fld>
            <a:endParaRPr lang="fr-CA" altLang="fr-FR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390D96E-1FC7-4E8E-B1BE-B2BB60B23F54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5179503" y="1557586"/>
            <a:ext cx="1836167" cy="791517"/>
          </a:xfrm>
        </p:spPr>
        <p:txBody>
          <a:bodyPr/>
          <a:lstStyle/>
          <a:p>
            <a:r>
              <a:rPr lang="en-CA" dirty="0"/>
              <a:t>Le </a:t>
            </a:r>
            <a:r>
              <a:rPr lang="en-CA" dirty="0" err="1"/>
              <a:t>IaC</a:t>
            </a:r>
            <a:endParaRPr lang="fr-CA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133A25D-B860-489F-A59A-0B08A875219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CA" sz="2800" dirty="0"/>
              <a:t>Solution et </a:t>
            </a:r>
            <a:r>
              <a:rPr lang="en-CA" sz="2800" dirty="0" err="1"/>
              <a:t>définition</a:t>
            </a:r>
            <a:endParaRPr lang="fr-CA" sz="2800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BCCBF61D-77C2-42EC-B3EE-009CC62AF4E6}"/>
              </a:ext>
            </a:extLst>
          </p:cNvPr>
          <p:cNvSpPr txBox="1"/>
          <p:nvPr/>
        </p:nvSpPr>
        <p:spPr>
          <a:xfrm>
            <a:off x="1057026" y="3051091"/>
            <a:ext cx="9793089" cy="1386243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algn="just">
              <a:lnSpc>
                <a:spcPct val="90000"/>
              </a:lnSpc>
              <a:spcBef>
                <a:spcPts val="400"/>
              </a:spcBef>
            </a:pPr>
            <a:r>
              <a:rPr lang="fr-CA" i="1" dirty="0">
                <a:solidFill>
                  <a:srgbClr val="07072B"/>
                </a:solidFill>
                <a:effectLst/>
                <a:latin typeface="Century Gothic" panose="020B0502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L'Infrastructure as code (littéralement : « infrastructure en tant que code ») est un ensemble de mécanismes permettant de gérer, par […] des scripts, une infrastructure informatique virtuelle.</a:t>
            </a:r>
            <a:endParaRPr lang="fr-CA" dirty="0">
              <a:solidFill>
                <a:srgbClr val="07072B"/>
              </a:solidFill>
              <a:latin typeface="Century Gothic" panose="020B0502020202020204" pitchFamily="34" charset="0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BB7BA6AE-B7C6-4E09-8D58-46CE91DEE7CA}"/>
              </a:ext>
            </a:extLst>
          </p:cNvPr>
          <p:cNvSpPr txBox="1"/>
          <p:nvPr/>
        </p:nvSpPr>
        <p:spPr>
          <a:xfrm>
            <a:off x="8726130" y="4964662"/>
            <a:ext cx="1907960" cy="216595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>
              <a:lnSpc>
                <a:spcPct val="90000"/>
              </a:lnSpc>
              <a:spcBef>
                <a:spcPts val="400"/>
              </a:spcBef>
            </a:pPr>
            <a:r>
              <a:rPr lang="en-CA" sz="1600" dirty="0">
                <a:solidFill>
                  <a:srgbClr val="07072B"/>
                </a:solidFill>
                <a:latin typeface="Century Gothic" panose="020B0502020202020204" pitchFamily="34" charset="0"/>
              </a:rPr>
              <a:t>Source : </a:t>
            </a:r>
            <a:r>
              <a:rPr lang="en-CA" sz="1600" dirty="0">
                <a:solidFill>
                  <a:srgbClr val="9B9B9B"/>
                </a:solidFill>
                <a:latin typeface="Century Gothic" panose="020B0502020202020204" pitchFamily="34" charset="0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Wikipedia</a:t>
            </a:r>
            <a:endParaRPr lang="fr-CA" sz="1600" dirty="0" err="1">
              <a:solidFill>
                <a:srgbClr val="9B9B9B"/>
              </a:solidFill>
              <a:latin typeface="Century Gothic" panose="020B0502020202020204" pitchFamily="34" charset="0"/>
            </a:endParaRP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E660D1E1-4814-45DA-872C-C12C6FB83DDD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9344245" y="5181998"/>
            <a:ext cx="1289845" cy="1289845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751817DE-8AB8-4C84-9E00-CFEE0B03A3A0}"/>
              </a:ext>
            </a:extLst>
          </p:cNvPr>
          <p:cNvSpPr txBox="1"/>
          <p:nvPr/>
        </p:nvSpPr>
        <p:spPr>
          <a:xfrm>
            <a:off x="552970" y="2709714"/>
            <a:ext cx="504056" cy="720080"/>
          </a:xfrm>
          <a:prstGeom prst="rect">
            <a:avLst/>
          </a:prstGeom>
          <a:noFill/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 anchor="t">
            <a:noAutofit/>
          </a:bodyPr>
          <a:lstStyle/>
          <a:p>
            <a:pPr>
              <a:lnSpc>
                <a:spcPct val="90000"/>
              </a:lnSpc>
              <a:spcBef>
                <a:spcPts val="400"/>
              </a:spcBef>
            </a:pPr>
            <a:r>
              <a:rPr lang="en-CA" sz="8000" dirty="0">
                <a:solidFill>
                  <a:srgbClr val="07072B"/>
                </a:solidFill>
              </a:rPr>
              <a:t>“</a:t>
            </a:r>
            <a:endParaRPr lang="fr-CA" sz="8000" dirty="0" err="1">
              <a:solidFill>
                <a:srgbClr val="07072B"/>
              </a:solidFill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0C5B20E6-C000-4F14-A786-C77B6B745340}"/>
              </a:ext>
            </a:extLst>
          </p:cNvPr>
          <p:cNvSpPr txBox="1"/>
          <p:nvPr/>
        </p:nvSpPr>
        <p:spPr>
          <a:xfrm>
            <a:off x="10850115" y="3744212"/>
            <a:ext cx="504056" cy="720080"/>
          </a:xfrm>
          <a:prstGeom prst="rect">
            <a:avLst/>
          </a:prstGeom>
          <a:noFill/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 anchor="t">
            <a:noAutofit/>
          </a:bodyPr>
          <a:lstStyle/>
          <a:p>
            <a:pPr>
              <a:lnSpc>
                <a:spcPct val="90000"/>
              </a:lnSpc>
              <a:spcBef>
                <a:spcPts val="400"/>
              </a:spcBef>
            </a:pPr>
            <a:r>
              <a:rPr lang="en-CA" sz="8000" dirty="0">
                <a:solidFill>
                  <a:srgbClr val="07072B"/>
                </a:solidFill>
              </a:rPr>
              <a:t>”</a:t>
            </a:r>
            <a:endParaRPr lang="fr-CA" sz="8000" dirty="0" err="1">
              <a:solidFill>
                <a:srgbClr val="07072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134191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39446CF1-95F1-4AEB-8FE0-9AEC104A241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algn="r">
              <a:defRPr/>
            </a:pPr>
            <a:fld id="{BC240EC6-B97B-449A-9055-D713C252FD31}" type="slidenum">
              <a:rPr lang="fr-CA" altLang="fr-FR" smtClean="0"/>
              <a:pPr algn="r">
                <a:defRPr/>
              </a:pPr>
              <a:t>9</a:t>
            </a:fld>
            <a:endParaRPr lang="fr-CA" altLang="fr-FR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380DB37-DE6C-4993-A257-4C5C00E36E7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CA" sz="2800" dirty="0" err="1"/>
              <a:t>Outils</a:t>
            </a:r>
            <a:r>
              <a:rPr lang="en-CA" sz="2800" dirty="0"/>
              <a:t> </a:t>
            </a:r>
            <a:r>
              <a:rPr lang="en-CA" sz="2800" dirty="0" err="1"/>
              <a:t>disponibles</a:t>
            </a:r>
            <a:endParaRPr lang="fr-CA" sz="2800" dirty="0"/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F2BC3F63-D981-4AB6-89FA-502D7FBE7AD6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059114" y="2921265"/>
            <a:ext cx="1033690" cy="1260000"/>
          </a:xfrm>
          <a:prstGeom prst="rect">
            <a:avLst/>
          </a:prstGeom>
        </p:spPr>
      </p:pic>
      <p:pic>
        <p:nvPicPr>
          <p:cNvPr id="8" name="Graphic 7">
            <a:extLst>
              <a:ext uri="{FF2B5EF4-FFF2-40B4-BE49-F238E27FC236}">
                <a16:creationId xmlns:a16="http://schemas.microsoft.com/office/drawing/2014/main" id="{84A13FEE-5E45-4A3D-BCAF-7C92A2E30B85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24348" y="2010860"/>
            <a:ext cx="1260000" cy="1260000"/>
          </a:xfrm>
          <a:prstGeom prst="rect">
            <a:avLst/>
          </a:prstGeom>
        </p:spPr>
      </p:pic>
      <p:pic>
        <p:nvPicPr>
          <p:cNvPr id="10" name="Graphic 9">
            <a:extLst>
              <a:ext uri="{FF2B5EF4-FFF2-40B4-BE49-F238E27FC236}">
                <a16:creationId xmlns:a16="http://schemas.microsoft.com/office/drawing/2014/main" id="{5A2D2A44-5E47-49AF-93E9-53095057307A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129035" y="4073351"/>
            <a:ext cx="1260000" cy="1197782"/>
          </a:xfrm>
          <a:prstGeom prst="rect">
            <a:avLst/>
          </a:prstGeom>
        </p:spPr>
      </p:pic>
      <p:pic>
        <p:nvPicPr>
          <p:cNvPr id="12" name="Graphic 11">
            <a:extLst>
              <a:ext uri="{FF2B5EF4-FFF2-40B4-BE49-F238E27FC236}">
                <a16:creationId xmlns:a16="http://schemas.microsoft.com/office/drawing/2014/main" id="{FFAE4BC3-B8F1-4C4A-B439-3AC1795B6393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8502704" y="1928637"/>
            <a:ext cx="1345574" cy="1440000"/>
          </a:xfrm>
          <a:prstGeom prst="rect">
            <a:avLst/>
          </a:prstGeom>
        </p:spPr>
      </p:pic>
      <p:pic>
        <p:nvPicPr>
          <p:cNvPr id="14" name="Graphic 13">
            <a:extLst>
              <a:ext uri="{FF2B5EF4-FFF2-40B4-BE49-F238E27FC236}">
                <a16:creationId xmlns:a16="http://schemas.microsoft.com/office/drawing/2014/main" id="{4975BEA8-1D1F-45EE-84B7-6B29A11BB8C6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6097587" y="3601304"/>
            <a:ext cx="2622945" cy="936104"/>
          </a:xfrm>
          <a:prstGeom prst="rect">
            <a:avLst/>
          </a:prstGeom>
        </p:spPr>
      </p:pic>
      <p:pic>
        <p:nvPicPr>
          <p:cNvPr id="16" name="Graphic 15">
            <a:extLst>
              <a:ext uri="{FF2B5EF4-FFF2-40B4-BE49-F238E27FC236}">
                <a16:creationId xmlns:a16="http://schemas.microsoft.com/office/drawing/2014/main" id="{CD5EA2D3-EB8D-4969-9156-0535C39FB917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6126440" y="1468719"/>
            <a:ext cx="1170286" cy="1440000"/>
          </a:xfrm>
          <a:prstGeom prst="rect">
            <a:avLst/>
          </a:prstGeom>
        </p:spPr>
      </p:pic>
      <p:pic>
        <p:nvPicPr>
          <p:cNvPr id="18" name="Graphic 17">
            <a:extLst>
              <a:ext uri="{FF2B5EF4-FFF2-40B4-BE49-F238E27FC236}">
                <a16:creationId xmlns:a16="http://schemas.microsoft.com/office/drawing/2014/main" id="{7AB90995-AF77-4103-AB06-CD5F2877EA64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6377689" y="5085978"/>
            <a:ext cx="4544311" cy="10906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907147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mc:AlternateContent xmlns:mc="http://schemas.openxmlformats.org/markup-compatibility/2006" xmlns:p14="http://schemas.microsoft.com/office/powerpoint/2010/main">
    <mc:Choice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9" fill="hold" nodeType="withEffect" p14:presetBounceEnd="20000">
                                      <p:stCondLst>
                                        <p:cond delay="300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20000">
                                          <p:cBhvr additive="base">
                                            <p:cTn id="7" dur="2000" fill="hold"/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20000">
                                          <p:cBhvr additive="base">
                                            <p:cTn id="8" dur="2000" fill="hold"/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9" fill="hold">
                                <p:stCondLst>
                                  <p:cond delay="5000"/>
                                </p:stCondLst>
                                <p:childTnLst>
                                  <p:par>
                                    <p:cTn id="10" presetID="2" presetClass="entr" presetSubtype="2" fill="hold" nodeType="afterEffect" p14:presetBounceEnd="2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20000">
                                          <p:cBhvr additive="base">
                                            <p:cTn id="12" dur="2000" fill="hold"/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20000">
                                          <p:cBhvr additive="base">
                                            <p:cTn id="13" dur="2000" fill="hold"/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14" fill="hold">
                                <p:stCondLst>
                                  <p:cond delay="7000"/>
                                </p:stCondLst>
                                <p:childTnLst>
                                  <p:par>
                                    <p:cTn id="15" presetID="2" presetClass="entr" presetSubtype="12" fill="hold" nodeType="afterEffect" p14:presetBounceEnd="2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0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20000">
                                          <p:cBhvr additive="base">
                                            <p:cTn id="17" dur="2000" fill="hold"/>
                                            <p:tgtEl>
                                              <p:spTgt spid="10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20000">
                                          <p:cBhvr additive="base">
                                            <p:cTn id="18" dur="2000" fill="hold"/>
                                            <p:tgtEl>
                                              <p:spTgt spid="10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  <p:par>
                        <p:cTn id="19" fill="hold">
                          <p:stCondLst>
                            <p:cond delay="indefinite"/>
                          </p:stCondLst>
                          <p:childTnLst>
                            <p:par>
                              <p:cTn id="20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21" presetID="2" presetClass="entr" presetSubtype="9" fill="hold" nodeType="clickEffect" p14:presetBounceEnd="2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22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20000">
                                          <p:cBhvr additive="base">
                                            <p:cTn id="23" dur="1000" fill="hold"/>
                                            <p:tgtEl>
                                              <p:spTgt spid="16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20000">
                                          <p:cBhvr additive="base">
                                            <p:cTn id="24" dur="1000" fill="hold"/>
                                            <p:tgtEl>
                                              <p:spTgt spid="16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25" fill="hold">
                                <p:stCondLst>
                                  <p:cond delay="1000"/>
                                </p:stCondLst>
                                <p:childTnLst>
                                  <p:par>
                                    <p:cTn id="26" presetID="2" presetClass="entr" presetSubtype="3" fill="hold" nodeType="afterEffect" p14:presetBounceEnd="2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27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20000">
                                          <p:cBhvr additive="base">
                                            <p:cTn id="28" dur="1000" fill="hold"/>
                                            <p:tgtEl>
                                              <p:spTgt spid="12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20000">
                                          <p:cBhvr additive="base">
                                            <p:cTn id="29" dur="1000" fill="hold"/>
                                            <p:tgtEl>
                                              <p:spTgt spid="12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30" fill="hold">
                                <p:stCondLst>
                                  <p:cond delay="2000"/>
                                </p:stCondLst>
                                <p:childTnLst>
                                  <p:par>
                                    <p:cTn id="31" presetID="2" presetClass="entr" presetSubtype="12" fill="hold" nodeType="afterEffect" p14:presetBounceEnd="2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32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20000">
                                          <p:cBhvr additive="base">
                                            <p:cTn id="33" dur="1000" fill="hold"/>
                                            <p:tgtEl>
                                              <p:spTgt spid="14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20000">
                                          <p:cBhvr additive="base">
                                            <p:cTn id="34" dur="1000" fill="hold"/>
                                            <p:tgtEl>
                                              <p:spTgt spid="14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35" fill="hold">
                                <p:stCondLst>
                                  <p:cond delay="3000"/>
                                </p:stCondLst>
                                <p:childTnLst>
                                  <p:par>
                                    <p:cTn id="36" presetID="2" presetClass="entr" presetSubtype="2" fill="hold" nodeType="afterEffect" p14:presetBounceEnd="20000">
                                      <p:stCondLst>
                                        <p:cond delay="2000"/>
                                      </p:stCondLst>
                                      <p:childTnLst>
                                        <p:set>
                                          <p:cBhvr>
                                            <p:cTn id="37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20000">
                                          <p:cBhvr additive="base">
                                            <p:cTn id="38" dur="1000" fill="hold"/>
                                            <p:tgtEl>
                                              <p:spTgt spid="18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20000">
                                          <p:cBhvr additive="base">
                                            <p:cTn id="39" dur="1000" fill="hold"/>
                                            <p:tgtEl>
                                              <p:spTgt spid="18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</p:timing>
    </mc:Choice>
    <mc:Fallback xmlns="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9" fill="hold" nodeType="withEffect">
                                      <p:stCondLst>
                                        <p:cond delay="300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7" dur="2000" fill="hold"/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8" dur="2000" fill="hold"/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9" fill="hold">
                                <p:stCondLst>
                                  <p:cond delay="5000"/>
                                </p:stCondLst>
                                <p:childTnLst>
                                  <p:par>
                                    <p:cTn id="10" presetID="2" presetClass="entr" presetSubtype="2" fill="hold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2" dur="2000" fill="hold"/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3" dur="2000" fill="hold"/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14" fill="hold">
                                <p:stCondLst>
                                  <p:cond delay="7000"/>
                                </p:stCondLst>
                                <p:childTnLst>
                                  <p:par>
                                    <p:cTn id="15" presetID="2" presetClass="entr" presetSubtype="12" fill="hold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0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7" dur="2000" fill="hold"/>
                                            <p:tgtEl>
                                              <p:spTgt spid="10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8" dur="2000" fill="hold"/>
                                            <p:tgtEl>
                                              <p:spTgt spid="10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  <p:par>
                        <p:cTn id="19" fill="hold">
                          <p:stCondLst>
                            <p:cond delay="indefinite"/>
                          </p:stCondLst>
                          <p:childTnLst>
                            <p:par>
                              <p:cTn id="20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21" presetID="2" presetClass="entr" presetSubtype="9" fill="hold" nodeType="click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22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23" dur="1000" fill="hold"/>
                                            <p:tgtEl>
                                              <p:spTgt spid="16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24" dur="1000" fill="hold"/>
                                            <p:tgtEl>
                                              <p:spTgt spid="16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25" fill="hold">
                                <p:stCondLst>
                                  <p:cond delay="1000"/>
                                </p:stCondLst>
                                <p:childTnLst>
                                  <p:par>
                                    <p:cTn id="26" presetID="2" presetClass="entr" presetSubtype="3" fill="hold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27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28" dur="1000" fill="hold"/>
                                            <p:tgtEl>
                                              <p:spTgt spid="12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29" dur="1000" fill="hold"/>
                                            <p:tgtEl>
                                              <p:spTgt spid="12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30" fill="hold">
                                <p:stCondLst>
                                  <p:cond delay="2000"/>
                                </p:stCondLst>
                                <p:childTnLst>
                                  <p:par>
                                    <p:cTn id="31" presetID="2" presetClass="entr" presetSubtype="12" fill="hold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32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33" dur="1000" fill="hold"/>
                                            <p:tgtEl>
                                              <p:spTgt spid="14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34" dur="1000" fill="hold"/>
                                            <p:tgtEl>
                                              <p:spTgt spid="14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35" fill="hold">
                                <p:stCondLst>
                                  <p:cond delay="3000"/>
                                </p:stCondLst>
                                <p:childTnLst>
                                  <p:par>
                                    <p:cTn id="36" presetID="2" presetClass="entr" presetSubtype="2" fill="hold" nodeType="afterEffect">
                                      <p:stCondLst>
                                        <p:cond delay="2000"/>
                                      </p:stCondLst>
                                      <p:childTnLst>
                                        <p:set>
                                          <p:cBhvr>
                                            <p:cTn id="37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38" dur="1000" fill="hold"/>
                                            <p:tgtEl>
                                              <p:spTgt spid="18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39" dur="1000" fill="hold"/>
                                            <p:tgtEl>
                                              <p:spTgt spid="18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</p:timing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4162&quot;&gt;&lt;version val=&quot;26992&quot;/&gt;&lt;CPresentation id=&quot;1&quot;&gt;&lt;m_precDefaultNumber&gt;&lt;m_yearfmt&gt;&lt;begin val=&quot;0&quot;/&gt;&lt;end val=&quot;4&quot;/&gt;&lt;/m_yearfmt&gt;&lt;/m_precDefaultNumber&gt;&lt;m_precDefaultPercent&gt;&lt;m_yearfmt&gt;&lt;begin val=&quot;0&quot;/&gt;&lt;end val=&quot;4&quot;/&gt;&lt;/m_yearfmt&gt;&lt;/m_precDefaultPercent&gt;&lt;m_precDefaultDate&gt;&lt;m_bNumberIsYear val=&quot;0&quot;/&gt;&lt;m_strFormatTime&gt;%Y-%m-%d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T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d.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0&quot;/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5a9O4T5ElMsJdDFR4QFF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5a9O4T5ElMsJdDFR4QFF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5a9O4T5ElMsJdDFR4QFF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NUM" val="1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ObiJCYcf_OFPgn4ia4wuQ"/>
  <p:tag name="NUM" val="2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5a9O4T5ElMsJdDFR4QFF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tY1qOSOT2S31y8x9x7Dy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5a9O4T5ElMsJdDFR4QFF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5a9O4T5ElMsJdDFR4QFFw"/>
</p:tagLst>
</file>

<file path=ppt/theme/theme1.xml><?xml version="1.0" encoding="utf-8"?>
<a:theme xmlns:a="http://schemas.openxmlformats.org/drawingml/2006/main" name="HQ_Hilo_MASTER_v05.secure">
  <a:themeElements>
    <a:clrScheme name="HQ-Mai2017">
      <a:dk1>
        <a:srgbClr val="000000"/>
      </a:dk1>
      <a:lt1>
        <a:srgbClr val="FFFFFF"/>
      </a:lt1>
      <a:dk2>
        <a:srgbClr val="003366"/>
      </a:dk2>
      <a:lt2>
        <a:srgbClr val="FFFFFF"/>
      </a:lt2>
      <a:accent1>
        <a:srgbClr val="003366"/>
      </a:accent1>
      <a:accent2>
        <a:srgbClr val="1B75BB"/>
      </a:accent2>
      <a:accent3>
        <a:srgbClr val="78D2E9"/>
      </a:accent3>
      <a:accent4>
        <a:srgbClr val="32323C"/>
      </a:accent4>
      <a:accent5>
        <a:srgbClr val="666666"/>
      </a:accent5>
      <a:accent6>
        <a:srgbClr val="B3B3B3"/>
      </a:accent6>
      <a:hlink>
        <a:srgbClr val="7D7D7D"/>
      </a:hlink>
      <a:folHlink>
        <a:srgbClr val="7D7D7D"/>
      </a:folHlink>
    </a:clrScheme>
    <a:fontScheme name="HQ Calibri-Calibri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Bureau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noFill/>
        <a:ln w="9525">
          <a:solidFill>
            <a:schemeClr val="tx2"/>
          </a:solidFill>
          <a:round/>
          <a:headEnd/>
          <a:tailEnd/>
        </a:ln>
        <a:extLst>
          <a:ext uri="{909E8E84-426E-40DD-AFC4-6F175D3DCCD1}">
            <a14:hiddenFill xmlns:a14="http://schemas.microsoft.com/office/drawing/2010/main">
              <a:noFill/>
            </a14:hiddenFill>
          </a:ext>
        </a:extLst>
      </a:spPr>
      <a:bodyPr wrap="none" anchor="ctr"/>
      <a:lstStyle>
        <a:defPPr>
          <a:defRPr/>
        </a:defPPr>
      </a:lst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 anchor="t">
        <a:noAutofit/>
      </a:bodyPr>
      <a:lstStyle>
        <a:defPPr>
          <a:lnSpc>
            <a:spcPct val="90000"/>
          </a:lnSpc>
          <a:spcBef>
            <a:spcPts val="400"/>
          </a:spcBef>
          <a:defRPr dirty="0" err="1" smtClean="0">
            <a:solidFill>
              <a:srgbClr val="32323C"/>
            </a:solidFill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Présentation Services Hilo Inc">
  <a:themeElements>
    <a:clrScheme name="HQ-Mai2017">
      <a:dk1>
        <a:srgbClr val="000000"/>
      </a:dk1>
      <a:lt1>
        <a:srgbClr val="FFFFFF"/>
      </a:lt1>
      <a:dk2>
        <a:srgbClr val="003366"/>
      </a:dk2>
      <a:lt2>
        <a:srgbClr val="FFFFFF"/>
      </a:lt2>
      <a:accent1>
        <a:srgbClr val="003366"/>
      </a:accent1>
      <a:accent2>
        <a:srgbClr val="1B75BB"/>
      </a:accent2>
      <a:accent3>
        <a:srgbClr val="78D2E9"/>
      </a:accent3>
      <a:accent4>
        <a:srgbClr val="32323C"/>
      </a:accent4>
      <a:accent5>
        <a:srgbClr val="666666"/>
      </a:accent5>
      <a:accent6>
        <a:srgbClr val="B3B3B3"/>
      </a:accent6>
      <a:hlink>
        <a:srgbClr val="7D7D7D"/>
      </a:hlink>
      <a:folHlink>
        <a:srgbClr val="7D7D7D"/>
      </a:folHlink>
    </a:clrScheme>
    <a:fontScheme name="HQ Calibri-Calibri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Bureau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noFill/>
        <a:ln w="9525">
          <a:solidFill>
            <a:schemeClr val="tx2"/>
          </a:solidFill>
          <a:round/>
          <a:headEnd/>
          <a:tailEnd/>
        </a:ln>
        <a:extLst>
          <a:ext uri="{909E8E84-426E-40DD-AFC4-6F175D3DCCD1}">
            <a14:hiddenFill xmlns:a14="http://schemas.microsoft.com/office/drawing/2010/main">
              <a:noFill/>
            </a14:hiddenFill>
          </a:ext>
        </a:extLst>
      </a:spPr>
      <a:bodyPr wrap="none" anchor="ctr"/>
      <a:lstStyle>
        <a:defPPr>
          <a:defRPr/>
        </a:defPPr>
      </a:lst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 anchor="t">
        <a:noAutofit/>
      </a:bodyPr>
      <a:lstStyle>
        <a:defPPr>
          <a:lnSpc>
            <a:spcPct val="90000"/>
          </a:lnSpc>
          <a:spcBef>
            <a:spcPts val="400"/>
          </a:spcBef>
          <a:defRPr dirty="0" err="1" smtClean="0">
            <a:solidFill>
              <a:srgbClr val="32323C"/>
            </a:solidFill>
          </a:defRPr>
        </a:defPPr>
      </a:lstStyle>
    </a:txDef>
  </a:objectDefaults>
  <a:extraClrSchemeLst/>
</a:theme>
</file>

<file path=ppt/theme/theme3.xml><?xml version="1.0" encoding="utf-8"?>
<a:theme xmlns:a="http://schemas.openxmlformats.org/drawingml/2006/main" name="1_Présentation Services Hilo Inc">
  <a:themeElements>
    <a:clrScheme name="HQ-Mai2017">
      <a:dk1>
        <a:srgbClr val="000000"/>
      </a:dk1>
      <a:lt1>
        <a:srgbClr val="FFFFFF"/>
      </a:lt1>
      <a:dk2>
        <a:srgbClr val="003366"/>
      </a:dk2>
      <a:lt2>
        <a:srgbClr val="FFFFFF"/>
      </a:lt2>
      <a:accent1>
        <a:srgbClr val="003366"/>
      </a:accent1>
      <a:accent2>
        <a:srgbClr val="1B75BB"/>
      </a:accent2>
      <a:accent3>
        <a:srgbClr val="78D2E9"/>
      </a:accent3>
      <a:accent4>
        <a:srgbClr val="32323C"/>
      </a:accent4>
      <a:accent5>
        <a:srgbClr val="666666"/>
      </a:accent5>
      <a:accent6>
        <a:srgbClr val="B3B3B3"/>
      </a:accent6>
      <a:hlink>
        <a:srgbClr val="7D7D7D"/>
      </a:hlink>
      <a:folHlink>
        <a:srgbClr val="7D7D7D"/>
      </a:folHlink>
    </a:clrScheme>
    <a:fontScheme name="HQ Calibri-Calibri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Bureau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noFill/>
        <a:ln w="9525">
          <a:solidFill>
            <a:schemeClr val="tx2"/>
          </a:solidFill>
          <a:round/>
          <a:headEnd/>
          <a:tailEnd/>
        </a:ln>
        <a:extLst>
          <a:ext uri="{909E8E84-426E-40DD-AFC4-6F175D3DCCD1}">
            <a14:hiddenFill xmlns:a14="http://schemas.microsoft.com/office/drawing/2010/main">
              <a:noFill/>
            </a14:hiddenFill>
          </a:ext>
        </a:extLst>
      </a:spPr>
      <a:bodyPr wrap="none" anchor="ctr"/>
      <a:lstStyle>
        <a:defPPr>
          <a:defRPr/>
        </a:defPPr>
      </a:lst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 anchor="t">
        <a:noAutofit/>
      </a:bodyPr>
      <a:lstStyle>
        <a:defPPr>
          <a:lnSpc>
            <a:spcPct val="90000"/>
          </a:lnSpc>
          <a:spcBef>
            <a:spcPts val="400"/>
          </a:spcBef>
          <a:defRPr dirty="0" err="1" smtClean="0">
            <a:solidFill>
              <a:srgbClr val="32323C"/>
            </a:solidFill>
          </a:defRPr>
        </a:defPPr>
      </a:lstStyle>
    </a:txDef>
  </a:objectDefaults>
  <a:extraClrSchemeLst/>
</a:theme>
</file>

<file path=ppt/theme/theme4.xml><?xml version="1.0" encoding="utf-8"?>
<a:theme xmlns:a="http://schemas.openxmlformats.org/drawingml/2006/main" name="HQ_Hilo_MASTER_v05.secure">
  <a:themeElements>
    <a:clrScheme name="HQ-Mai2017">
      <a:dk1>
        <a:srgbClr val="000000"/>
      </a:dk1>
      <a:lt1>
        <a:srgbClr val="FFFFFF"/>
      </a:lt1>
      <a:dk2>
        <a:srgbClr val="003366"/>
      </a:dk2>
      <a:lt2>
        <a:srgbClr val="FFFFFF"/>
      </a:lt2>
      <a:accent1>
        <a:srgbClr val="003366"/>
      </a:accent1>
      <a:accent2>
        <a:srgbClr val="1B75BB"/>
      </a:accent2>
      <a:accent3>
        <a:srgbClr val="78D2E9"/>
      </a:accent3>
      <a:accent4>
        <a:srgbClr val="32323C"/>
      </a:accent4>
      <a:accent5>
        <a:srgbClr val="666666"/>
      </a:accent5>
      <a:accent6>
        <a:srgbClr val="B3B3B3"/>
      </a:accent6>
      <a:hlink>
        <a:srgbClr val="7D7D7D"/>
      </a:hlink>
      <a:folHlink>
        <a:srgbClr val="7D7D7D"/>
      </a:folHlink>
    </a:clrScheme>
    <a:fontScheme name="HQ Calibri-Calibri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Bureau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noFill/>
        <a:ln w="9525">
          <a:solidFill>
            <a:schemeClr val="tx2"/>
          </a:solidFill>
          <a:round/>
          <a:headEnd/>
          <a:tailEnd/>
        </a:ln>
        <a:extLst>
          <a:ext uri="{909E8E84-426E-40DD-AFC4-6F175D3DCCD1}">
            <a14:hiddenFill xmlns:a14="http://schemas.microsoft.com/office/drawing/2010/main">
              <a:noFill/>
            </a14:hiddenFill>
          </a:ext>
        </a:extLst>
      </a:spPr>
      <a:bodyPr wrap="none" anchor="ctr"/>
      <a:lstStyle>
        <a:defPPr>
          <a:defRPr/>
        </a:defPPr>
      </a:lst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 anchor="t">
        <a:noAutofit/>
      </a:bodyPr>
      <a:lstStyle>
        <a:defPPr>
          <a:lnSpc>
            <a:spcPct val="90000"/>
          </a:lnSpc>
          <a:spcBef>
            <a:spcPts val="400"/>
          </a:spcBef>
          <a:defRPr dirty="0" err="1" smtClean="0">
            <a:solidFill>
              <a:srgbClr val="32323C"/>
            </a:solidFill>
          </a:defRPr>
        </a:defPPr>
      </a:lstStyle>
    </a:txDef>
  </a:objectDefaults>
  <a:extraClrSchemeLst/>
</a:theme>
</file>

<file path=ppt/theme/theme5.xml><?xml version="1.0" encoding="utf-8"?>
<a:theme xmlns:a="http://schemas.openxmlformats.org/drawingml/2006/main" name="Présentation Services Hilo Inc">
  <a:themeElements>
    <a:clrScheme name="HQ-Mai2017">
      <a:dk1>
        <a:srgbClr val="000000"/>
      </a:dk1>
      <a:lt1>
        <a:srgbClr val="FFFFFF"/>
      </a:lt1>
      <a:dk2>
        <a:srgbClr val="003366"/>
      </a:dk2>
      <a:lt2>
        <a:srgbClr val="FFFFFF"/>
      </a:lt2>
      <a:accent1>
        <a:srgbClr val="003366"/>
      </a:accent1>
      <a:accent2>
        <a:srgbClr val="1B75BB"/>
      </a:accent2>
      <a:accent3>
        <a:srgbClr val="78D2E9"/>
      </a:accent3>
      <a:accent4>
        <a:srgbClr val="32323C"/>
      </a:accent4>
      <a:accent5>
        <a:srgbClr val="666666"/>
      </a:accent5>
      <a:accent6>
        <a:srgbClr val="B3B3B3"/>
      </a:accent6>
      <a:hlink>
        <a:srgbClr val="7D7D7D"/>
      </a:hlink>
      <a:folHlink>
        <a:srgbClr val="7D7D7D"/>
      </a:folHlink>
    </a:clrScheme>
    <a:fontScheme name="HQ Calibri-Calibri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Bureau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noFill/>
        <a:ln w="9525">
          <a:solidFill>
            <a:schemeClr val="tx2"/>
          </a:solidFill>
          <a:round/>
          <a:headEnd/>
          <a:tailEnd/>
        </a:ln>
        <a:extLst>
          <a:ext uri="{909E8E84-426E-40DD-AFC4-6F175D3DCCD1}">
            <a14:hiddenFill xmlns:a14="http://schemas.microsoft.com/office/drawing/2010/main">
              <a:noFill/>
            </a14:hiddenFill>
          </a:ext>
        </a:extLst>
      </a:spPr>
      <a:bodyPr wrap="none" anchor="ctr"/>
      <a:lstStyle>
        <a:defPPr>
          <a:defRPr/>
        </a:defPPr>
      </a:lst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 anchor="t">
        <a:noAutofit/>
      </a:bodyPr>
      <a:lstStyle>
        <a:defPPr>
          <a:lnSpc>
            <a:spcPct val="90000"/>
          </a:lnSpc>
          <a:spcBef>
            <a:spcPts val="400"/>
          </a:spcBef>
          <a:defRPr dirty="0" err="1" smtClean="0">
            <a:solidFill>
              <a:srgbClr val="32323C"/>
            </a:solidFill>
          </a:defRPr>
        </a:defPPr>
      </a:lstStyle>
    </a:txDef>
  </a:objectDefaults>
  <a:extraClrSchemeLst/>
</a:theme>
</file>

<file path=ppt/theme/theme6.xml><?xml version="1.0" encoding="utf-8"?>
<a:theme xmlns:a="http://schemas.openxmlformats.org/drawingml/2006/main" name="Présentation Services Hilo Inc">
  <a:themeElements>
    <a:clrScheme name="HQ-Mai2017">
      <a:dk1>
        <a:srgbClr val="000000"/>
      </a:dk1>
      <a:lt1>
        <a:srgbClr val="FFFFFF"/>
      </a:lt1>
      <a:dk2>
        <a:srgbClr val="003366"/>
      </a:dk2>
      <a:lt2>
        <a:srgbClr val="FFFFFF"/>
      </a:lt2>
      <a:accent1>
        <a:srgbClr val="003366"/>
      </a:accent1>
      <a:accent2>
        <a:srgbClr val="1B75BB"/>
      </a:accent2>
      <a:accent3>
        <a:srgbClr val="78D2E9"/>
      </a:accent3>
      <a:accent4>
        <a:srgbClr val="32323C"/>
      </a:accent4>
      <a:accent5>
        <a:srgbClr val="666666"/>
      </a:accent5>
      <a:accent6>
        <a:srgbClr val="B3B3B3"/>
      </a:accent6>
      <a:hlink>
        <a:srgbClr val="7D7D7D"/>
      </a:hlink>
      <a:folHlink>
        <a:srgbClr val="7D7D7D"/>
      </a:folHlink>
    </a:clrScheme>
    <a:fontScheme name="HQ Calibri-Calibri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Bureau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noFill/>
        <a:ln w="9525">
          <a:solidFill>
            <a:schemeClr val="tx2"/>
          </a:solidFill>
          <a:round/>
          <a:headEnd/>
          <a:tailEnd/>
        </a:ln>
        <a:extLst>
          <a:ext uri="{909E8E84-426E-40DD-AFC4-6F175D3DCCD1}">
            <a14:hiddenFill xmlns:a14="http://schemas.microsoft.com/office/drawing/2010/main">
              <a:noFill/>
            </a14:hiddenFill>
          </a:ext>
        </a:extLst>
      </a:spPr>
      <a:bodyPr wrap="none" anchor="ctr"/>
      <a:lstStyle>
        <a:defPPr>
          <a:defRPr/>
        </a:defPPr>
      </a:lst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 anchor="t">
        <a:noAutofit/>
      </a:bodyPr>
      <a:lstStyle>
        <a:defPPr>
          <a:lnSpc>
            <a:spcPct val="90000"/>
          </a:lnSpc>
          <a:spcBef>
            <a:spcPts val="400"/>
          </a:spcBef>
          <a:defRPr dirty="0" err="1" smtClean="0">
            <a:solidFill>
              <a:srgbClr val="32323C"/>
            </a:solidFill>
          </a:defRPr>
        </a:defPPr>
      </a:lstStyle>
    </a:txDef>
  </a:objectDefaults>
  <a:extraClrSchemeLst/>
</a:theme>
</file>

<file path=ppt/theme/theme7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8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9DA9EC3BF36B1844A84B337FF145322C" ma:contentTypeVersion="13" ma:contentTypeDescription="Crée un document." ma:contentTypeScope="" ma:versionID="4d7d8e5eeb22964ca1008d202f01a2ef">
  <xsd:schema xmlns:xsd="http://www.w3.org/2001/XMLSchema" xmlns:xs="http://www.w3.org/2001/XMLSchema" xmlns:p="http://schemas.microsoft.com/office/2006/metadata/properties" xmlns:ns2="44816297-0184-4d4b-a42b-60317598b45d" xmlns:ns3="aa01667e-1d3c-48b6-bb02-e0a6bbec6d40" targetNamespace="http://schemas.microsoft.com/office/2006/metadata/properties" ma:root="true" ma:fieldsID="bf585ea16813ed4c2e554d45f9090b15" ns2:_="" ns3:_="">
    <xsd:import namespace="44816297-0184-4d4b-a42b-60317598b45d"/>
    <xsd:import namespace="aa01667e-1d3c-48b6-bb02-e0a6bbec6d40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DateTaken" minOccurs="0"/>
                <xsd:element ref="ns3:MediaServiceAutoTags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3:MediaServiceAutoKeyPoints" minOccurs="0"/>
                <xsd:element ref="ns3:MediaServiceKeyPoints" minOccurs="0"/>
                <xsd:element ref="ns3:MediaServiceLocation" minOccurs="0"/>
                <xsd:element ref="ns3:Statut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4816297-0184-4d4b-a42b-60317598b45d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Partagé avec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Partagé avec détails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a01667e-1d3c-48b6-bb02-e0a6bbec6d4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3" nillable="true" ma:displayName="Tags" ma:internalName="MediaServiceAutoTags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7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8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Location" ma:index="19" nillable="true" ma:displayName="Location" ma:internalName="MediaServiceLocation" ma:readOnly="true">
      <xsd:simpleType>
        <xsd:restriction base="dms:Text"/>
      </xsd:simpleType>
    </xsd:element>
    <xsd:element name="Statut" ma:index="20" nillable="true" ma:displayName="Statut" ma:default="à reclasser" ma:description="Statut de la documentation de HQ en lien avec le projet de gestion documentaire" ma:format="Dropdown" ma:internalName="Statut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ype de contenu"/>
        <xsd:element ref="dc:title" minOccurs="0" maxOccurs="1" ma:index="4" ma:displayName="Titr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tatut xmlns="aa01667e-1d3c-48b6-bb02-e0a6bbec6d40">à reclasser</Statut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6F52A4B7-201D-408F-AFF4-A7BFEA858463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44816297-0184-4d4b-a42b-60317598b45d"/>
    <ds:schemaRef ds:uri="aa01667e-1d3c-48b6-bb02-e0a6bbec6d40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44E04344-20BA-4996-B0AB-384A818A9BAB}">
  <ds:schemaRefs>
    <ds:schemaRef ds:uri="http://schemas.microsoft.com/office/2006/metadata/properties"/>
    <ds:schemaRef ds:uri="http://schemas.microsoft.com/office/infopath/2007/PartnerControls"/>
    <ds:schemaRef ds:uri="aa01667e-1d3c-48b6-bb02-e0a6bbec6d40"/>
  </ds:schemaRefs>
</ds:datastoreItem>
</file>

<file path=customXml/itemProps3.xml><?xml version="1.0" encoding="utf-8"?>
<ds:datastoreItem xmlns:ds="http://schemas.openxmlformats.org/officeDocument/2006/customXml" ds:itemID="{9AD9FE3E-2219-4AE2-84DE-87CC97B2D24D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5374</TotalTime>
  <Words>1355</Words>
  <Application>Microsoft Office PowerPoint</Application>
  <PresentationFormat>Custom</PresentationFormat>
  <Paragraphs>256</Paragraphs>
  <Slides>26</Slides>
  <Notes>20</Notes>
  <HiddenSlides>0</HiddenSlides>
  <MMClips>1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6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6</vt:i4>
      </vt:variant>
    </vt:vector>
  </HeadingPairs>
  <TitlesOfParts>
    <vt:vector size="38" baseType="lpstr">
      <vt:lpstr>Arial</vt:lpstr>
      <vt:lpstr>Century Gothic</vt:lpstr>
      <vt:lpstr>Symbol</vt:lpstr>
      <vt:lpstr>Calibri</vt:lpstr>
      <vt:lpstr>Consolas</vt:lpstr>
      <vt:lpstr>HQ_Hilo_MASTER_v05.secure</vt:lpstr>
      <vt:lpstr>Présentation Services Hilo Inc</vt:lpstr>
      <vt:lpstr>1_Présentation Services Hilo Inc</vt:lpstr>
      <vt:lpstr>HQ_Hilo_MASTER_v05.secure</vt:lpstr>
      <vt:lpstr>Présentation Services Hilo Inc</vt:lpstr>
      <vt:lpstr>Présentation Services Hilo Inc</vt:lpstr>
      <vt:lpstr>Diapositive think-cell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ésentation PowerPoint</dc:title>
  <dc:creator>Veronique Nguyen</dc:creator>
  <cp:lastModifiedBy>Pierre CAVAROC</cp:lastModifiedBy>
  <cp:revision>40</cp:revision>
  <dcterms:created xsi:type="dcterms:W3CDTF">2020-10-23T12:08:36Z</dcterms:created>
  <dcterms:modified xsi:type="dcterms:W3CDTF">2021-04-01T12:39:42Z</dcterms:modified>
</cp:coreProperties>
</file>